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9" r:id="rId4"/>
    <p:sldId id="260" r:id="rId5"/>
    <p:sldId id="262" r:id="rId6"/>
    <p:sldId id="263" r:id="rId7"/>
    <p:sldId id="264" r:id="rId8"/>
    <p:sldId id="266" r:id="rId9"/>
    <p:sldId id="267" r:id="rId10"/>
    <p:sldId id="25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3E33"/>
    <a:srgbClr val="E1BE63"/>
    <a:srgbClr val="30574C"/>
    <a:srgbClr val="95B27F"/>
    <a:srgbClr val="FDFEFC"/>
    <a:srgbClr val="D7EDC7"/>
    <a:srgbClr val="90B0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14" autoAdjust="0"/>
    <p:restoredTop sz="93149" autoAdjust="0"/>
  </p:normalViewPr>
  <p:slideViewPr>
    <p:cSldViewPr snapToGrid="0">
      <p:cViewPr varScale="1">
        <p:scale>
          <a:sx n="96" d="100"/>
          <a:sy n="96" d="100"/>
        </p:scale>
        <p:origin x="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2EBD127-8026-4740-BEF8-50934F9209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CFF37F-5A01-4B13-94BD-BEC195736A2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19A579-3FF7-41C2-9ED2-5A3852308E3F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099FFB8-E85E-4C43-AA11-781B285604D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547F1A7-7921-43F0-B3A5-3873091EBF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ED0547-7F66-4896-96C2-CCD58A152E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5EDF61-DE81-4326-8C75-02EAF1DDF1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B514B-C7F5-4C94-85B1-D168BA8E54FA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1D4A19-0CE6-4267-A3EC-ADEF74A9725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653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1D4A19-0CE6-4267-A3EC-ADEF74A9725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6645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B514B-C7F5-4C94-85B1-D168BA8E54F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9884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B514B-C7F5-4C94-85B1-D168BA8E54F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06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lant Photo : https://www.pexels.com/photo/green-leafed-plant-2215534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1D4A19-0CE6-4267-A3EC-ADEF74A9725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032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B514B-C7F5-4C94-85B1-D168BA8E54F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202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4DBCB-2424-4FCE-AAA7-F0E9353F85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68323D-52F5-4F00-83ED-CD507320B0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287933-55AF-4F20-B833-77119BB12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F3A93-273F-4DB9-B2E7-C78EB60B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EB9F39-9501-46D0-A83C-ECB7CA66E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71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1BC4A-4885-4369-B59F-9E937780E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9BDF1F-0E79-465F-BB09-2E60AB94A2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F37E04-37DB-4F8E-A784-4181E8FF3B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1A1516-5193-4E39-BD0C-E352F38605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E9B140-9F5C-41CC-B13F-8774AC883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5308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7A20CA-5A57-4A3F-91F4-03509CF2D0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829427-5B54-4704-8F19-47C5098926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7162C0-BCAB-42AF-A3C8-E3816C9FD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B8C04D-1490-4161-A174-0800F295E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92DE2D-5B89-468A-8B15-43AD7228CE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107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63F4A-8D45-474B-A01C-2C6BDF814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F883DE-855C-4BE5-92E9-5268588B93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E532F6-7F5B-4A43-8F64-A0D1670EC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5537E-ED03-41B0-8D30-2EC0DE29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13460C-E909-4DF5-8331-725D97694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000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B1EBD-D854-4D45-88A5-80E568EEC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46B739-6DBA-46BB-80D1-F08D00C102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A0D10-8181-4ADA-B5AA-7D82CBAE35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DA447A-CCA1-4651-AC57-061B832EC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9E674-C3AF-430E-9046-511BFDE0C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841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677BB-ADAC-4EBB-8458-E0AFABA96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9E9D63-24E1-4498-B6EF-537B2D087B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56C814-E0B1-4795-9919-C5E01D4379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FAF21A-B4C4-4CFB-8D16-EC7554F90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D21DD1-478F-495E-A4A6-6726237D7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B63385-7380-427B-855A-2E427685C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593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C178E-70C9-4F46-8D0D-AC94AEDAC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3C5D18-F66C-4436-A412-C9718988A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F08341-D7C3-4A14-B37B-8607866F61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F0BA7-2850-44C3-A72C-B8AC483810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60872F-2A40-4FF8-8942-F74E17A421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47FF3A-D964-4B03-B72E-549B041E3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A5631D-6F06-4D9A-BA00-E96179127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D0BEDB-66BC-4B82-A9D2-8B6ED26D0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870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42291-DC16-4753-97AD-3A916DCBA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DFDCBF-6BB4-40D0-9AB6-2F5D2BC33C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3A5D9B-365B-4AE9-990D-F7A81C9D4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7B9F4E-0B04-4F4B-8591-0ECB577B4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175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486AD1-1281-4C8B-A7F9-A124FFD3C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9612C7-4B37-4949-81F3-CB2DC46B7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A6BA2C-B9F8-4209-9379-069B3072E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51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67036-2D32-4CD9-B7A7-8ED6CC43D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F78EFC-6E5F-4457-B1AD-49D92A3FAA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56E96E-6B0B-4512-9173-3F4492D89B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F12778-9BF1-440D-A637-D37BE36A5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C35930-B813-459A-9A0B-536B88FAD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76F10B-CBEE-45CE-AF1F-1E4E3B748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076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B727A-4A52-4A3F-BEFD-B99216822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FC40AA-B178-437F-A5CA-054A627D39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6BFA86-6A88-4525-B079-D954AD4ED6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756448-FBA4-4805-A8B1-B5C0D3865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2807D6-589A-4A36-8F54-8B8C592AC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27576E-00DC-4581-9299-AF813EDA6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129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AEE73F-72B9-4AF1-B2BA-3F7C42D00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5312A3-E8AA-4C4F-B468-0A273B8053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4D3F4E-0AA7-4598-A599-57C637B531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98E3B5-B6AF-4335-92B9-94471D8DCE46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76C67F-76A4-463A-BBE1-031667930C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E1DE1-042D-40E4-879C-C781E97337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14620-7CED-41B9-91BD-D28BFF6B85E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2DA88EC-9D10-482C-8534-4434BB238323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21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" Type="http://schemas.openxmlformats.org/officeDocument/2006/relationships/image" Target="../media/image1.png"/><Relationship Id="rId21" Type="http://schemas.openxmlformats.org/officeDocument/2006/relationships/image" Target="../media/image19.svg"/><Relationship Id="rId7" Type="http://schemas.openxmlformats.org/officeDocument/2006/relationships/image" Target="../media/image5.jpeg"/><Relationship Id="rId12" Type="http://schemas.openxmlformats.org/officeDocument/2006/relationships/image" Target="../media/image10.svg"/><Relationship Id="rId17" Type="http://schemas.openxmlformats.org/officeDocument/2006/relationships/image" Target="../media/image15.svg"/><Relationship Id="rId25" Type="http://schemas.openxmlformats.org/officeDocument/2006/relationships/image" Target="../media/image23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29" Type="http://schemas.openxmlformats.org/officeDocument/2006/relationships/image" Target="../media/image27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24" Type="http://schemas.openxmlformats.org/officeDocument/2006/relationships/image" Target="../media/image22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23" Type="http://schemas.openxmlformats.org/officeDocument/2006/relationships/image" Target="../media/image21.svg"/><Relationship Id="rId28" Type="http://schemas.openxmlformats.org/officeDocument/2006/relationships/image" Target="../media/image26.png"/><Relationship Id="rId10" Type="http://schemas.openxmlformats.org/officeDocument/2006/relationships/image" Target="../media/image8.svg"/><Relationship Id="rId19" Type="http://schemas.openxmlformats.org/officeDocument/2006/relationships/image" Target="../media/image17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png"/><Relationship Id="rId27" Type="http://schemas.openxmlformats.org/officeDocument/2006/relationships/image" Target="../media/image25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image" Target="../media/image1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11" Type="http://schemas.openxmlformats.org/officeDocument/2006/relationships/image" Target="../media/image44.emf"/><Relationship Id="rId5" Type="http://schemas.openxmlformats.org/officeDocument/2006/relationships/image" Target="../media/image20.png"/><Relationship Id="rId10" Type="http://schemas.openxmlformats.org/officeDocument/2006/relationships/image" Target="../media/image43.emf"/><Relationship Id="rId4" Type="http://schemas.openxmlformats.org/officeDocument/2006/relationships/image" Target="../media/image2.svg"/><Relationship Id="rId9" Type="http://schemas.openxmlformats.org/officeDocument/2006/relationships/image" Target="../media/image3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image" Target="../media/image30.jpe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34.jpeg"/><Relationship Id="rId5" Type="http://schemas.openxmlformats.org/officeDocument/2006/relationships/image" Target="../media/image2.svg"/><Relationship Id="rId10" Type="http://schemas.openxmlformats.org/officeDocument/2006/relationships/image" Target="../media/image33.jpg"/><Relationship Id="rId4" Type="http://schemas.openxmlformats.org/officeDocument/2006/relationships/image" Target="../media/image1.png"/><Relationship Id="rId9" Type="http://schemas.openxmlformats.org/officeDocument/2006/relationships/image" Target="../media/image32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31.emf"/><Relationship Id="rId7" Type="http://schemas.openxmlformats.org/officeDocument/2006/relationships/image" Target="../media/image2.sv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11" Type="http://schemas.openxmlformats.org/officeDocument/2006/relationships/image" Target="../media/image38.png"/><Relationship Id="rId5" Type="http://schemas.openxmlformats.org/officeDocument/2006/relationships/image" Target="../media/image36.png"/><Relationship Id="rId10" Type="http://schemas.openxmlformats.org/officeDocument/2006/relationships/image" Target="../media/image37.png"/><Relationship Id="rId4" Type="http://schemas.openxmlformats.org/officeDocument/2006/relationships/image" Target="../media/image35.emf"/><Relationship Id="rId9" Type="http://schemas.openxmlformats.org/officeDocument/2006/relationships/image" Target="../media/image2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image" Target="../media/image34.jpeg"/><Relationship Id="rId7" Type="http://schemas.openxmlformats.org/officeDocument/2006/relationships/image" Target="../media/image1.png"/><Relationship Id="rId12" Type="http://schemas.openxmlformats.org/officeDocument/2006/relationships/image" Target="../media/image4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jpg"/><Relationship Id="rId11" Type="http://schemas.openxmlformats.org/officeDocument/2006/relationships/image" Target="../media/image40.png"/><Relationship Id="rId5" Type="http://schemas.openxmlformats.org/officeDocument/2006/relationships/image" Target="../media/image31.emf"/><Relationship Id="rId10" Type="http://schemas.openxmlformats.org/officeDocument/2006/relationships/image" Target="../media/image21.svg"/><Relationship Id="rId4" Type="http://schemas.openxmlformats.org/officeDocument/2006/relationships/image" Target="../media/image35.emf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.png"/><Relationship Id="rId7" Type="http://schemas.openxmlformats.org/officeDocument/2006/relationships/image" Target="../media/image14.png"/><Relationship Id="rId12" Type="http://schemas.openxmlformats.org/officeDocument/2006/relationships/image" Target="../media/image4.sv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svg"/><Relationship Id="rId11" Type="http://schemas.openxmlformats.org/officeDocument/2006/relationships/image" Target="../media/image3.png"/><Relationship Id="rId5" Type="http://schemas.openxmlformats.org/officeDocument/2006/relationships/image" Target="../media/image7.png"/><Relationship Id="rId10" Type="http://schemas.openxmlformats.org/officeDocument/2006/relationships/image" Target="../media/image19.svg"/><Relationship Id="rId4" Type="http://schemas.openxmlformats.org/officeDocument/2006/relationships/image" Target="../media/image2.sv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.png"/><Relationship Id="rId7" Type="http://schemas.openxmlformats.org/officeDocument/2006/relationships/image" Target="../media/image18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31.emf"/><Relationship Id="rId3" Type="http://schemas.openxmlformats.org/officeDocument/2006/relationships/image" Target="../media/image1.png"/><Relationship Id="rId7" Type="http://schemas.openxmlformats.org/officeDocument/2006/relationships/image" Target="../media/image14.png"/><Relationship Id="rId12" Type="http://schemas.openxmlformats.org/officeDocument/2006/relationships/image" Target="../media/image4.sv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svg"/><Relationship Id="rId11" Type="http://schemas.openxmlformats.org/officeDocument/2006/relationships/image" Target="../media/image3.png"/><Relationship Id="rId5" Type="http://schemas.openxmlformats.org/officeDocument/2006/relationships/image" Target="../media/image7.png"/><Relationship Id="rId10" Type="http://schemas.openxmlformats.org/officeDocument/2006/relationships/image" Target="../media/image19.svg"/><Relationship Id="rId4" Type="http://schemas.openxmlformats.org/officeDocument/2006/relationships/image" Target="../media/image2.svg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image" Target="../media/image1.png"/><Relationship Id="rId21" Type="http://schemas.openxmlformats.org/officeDocument/2006/relationships/image" Target="../media/image17.svg"/><Relationship Id="rId7" Type="http://schemas.openxmlformats.org/officeDocument/2006/relationships/image" Target="../media/image26.png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5" Type="http://schemas.openxmlformats.org/officeDocument/2006/relationships/image" Target="../media/image21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2.svg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7.png"/><Relationship Id="rId24" Type="http://schemas.openxmlformats.org/officeDocument/2006/relationships/image" Target="../media/image20.png"/><Relationship Id="rId5" Type="http://schemas.openxmlformats.org/officeDocument/2006/relationships/image" Target="../media/image3.png"/><Relationship Id="rId15" Type="http://schemas.openxmlformats.org/officeDocument/2006/relationships/image" Target="../media/image11.png"/><Relationship Id="rId23" Type="http://schemas.openxmlformats.org/officeDocument/2006/relationships/image" Target="../media/image19.svg"/><Relationship Id="rId10" Type="http://schemas.openxmlformats.org/officeDocument/2006/relationships/image" Target="../media/image6.png"/><Relationship Id="rId19" Type="http://schemas.openxmlformats.org/officeDocument/2006/relationships/image" Target="../media/image15.svg"/><Relationship Id="rId4" Type="http://schemas.openxmlformats.org/officeDocument/2006/relationships/image" Target="../media/image2.svg"/><Relationship Id="rId9" Type="http://schemas.openxmlformats.org/officeDocument/2006/relationships/image" Target="../media/image5.jpeg"/><Relationship Id="rId14" Type="http://schemas.openxmlformats.org/officeDocument/2006/relationships/image" Target="../media/image10.svg"/><Relationship Id="rId22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9A02F3D-30F4-4916-9DDE-E6E5E9191B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30574C"/>
              </a:gs>
              <a:gs pos="45000">
                <a:srgbClr val="50745C"/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3" name="Graphic 472">
            <a:extLst>
              <a:ext uri="{FF2B5EF4-FFF2-40B4-BE49-F238E27FC236}">
                <a16:creationId xmlns:a16="http://schemas.microsoft.com/office/drawing/2014/main" id="{AB8931FC-796F-4055-83AA-1B87C2EEC5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932382" flipH="1">
            <a:off x="6272220" y="4720556"/>
            <a:ext cx="1173145" cy="2510941"/>
          </a:xfrm>
          <a:prstGeom prst="rect">
            <a:avLst/>
          </a:prstGeom>
        </p:spPr>
      </p:pic>
      <p:sp>
        <p:nvSpPr>
          <p:cNvPr id="1388" name="Rectangle: Single Corner Rounded 1387">
            <a:extLst>
              <a:ext uri="{FF2B5EF4-FFF2-40B4-BE49-F238E27FC236}">
                <a16:creationId xmlns:a16="http://schemas.microsoft.com/office/drawing/2014/main" id="{3415865A-C8F4-4DF3-884A-120F016A3521}"/>
              </a:ext>
            </a:extLst>
          </p:cNvPr>
          <p:cNvSpPr/>
          <p:nvPr/>
        </p:nvSpPr>
        <p:spPr>
          <a:xfrm flipH="1">
            <a:off x="670069" y="6487550"/>
            <a:ext cx="11816805" cy="1001305"/>
          </a:xfrm>
          <a:prstGeom prst="round1Rect">
            <a:avLst>
              <a:gd name="adj" fmla="val 50000"/>
            </a:avLst>
          </a:prstGeom>
          <a:solidFill>
            <a:srgbClr val="2A3E33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7" name="Graphic 460">
            <a:extLst>
              <a:ext uri="{FF2B5EF4-FFF2-40B4-BE49-F238E27FC236}">
                <a16:creationId xmlns:a16="http://schemas.microsoft.com/office/drawing/2014/main" id="{5FE0F5A2-9FFE-4C53-AD07-F1994A01E598}"/>
              </a:ext>
            </a:extLst>
          </p:cNvPr>
          <p:cNvSpPr/>
          <p:nvPr/>
        </p:nvSpPr>
        <p:spPr>
          <a:xfrm>
            <a:off x="5750437" y="4056318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80" name="Graphic 1379">
            <a:extLst>
              <a:ext uri="{FF2B5EF4-FFF2-40B4-BE49-F238E27FC236}">
                <a16:creationId xmlns:a16="http://schemas.microsoft.com/office/drawing/2014/main" id="{83733D6B-E099-4335-A325-21FCE22B53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9599" y="4598534"/>
            <a:ext cx="1721844" cy="241948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F53EEAF-A340-46D9-9B2B-2E647FB36F17}"/>
              </a:ext>
            </a:extLst>
          </p:cNvPr>
          <p:cNvSpPr/>
          <p:nvPr/>
        </p:nvSpPr>
        <p:spPr>
          <a:xfrm>
            <a:off x="10900228" y="0"/>
            <a:ext cx="1291771" cy="1358900"/>
          </a:xfrm>
          <a:prstGeom prst="rect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C1EB366-190C-4A7D-AF0A-9CAB921FFF84}"/>
              </a:ext>
            </a:extLst>
          </p:cNvPr>
          <p:cNvSpPr/>
          <p:nvPr/>
        </p:nvSpPr>
        <p:spPr>
          <a:xfrm>
            <a:off x="0" y="-635000"/>
            <a:ext cx="444500" cy="444500"/>
          </a:xfrm>
          <a:prstGeom prst="ellipse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BDC1E75-354F-402E-94A2-F5E0C8FF60CA}"/>
              </a:ext>
            </a:extLst>
          </p:cNvPr>
          <p:cNvSpPr/>
          <p:nvPr/>
        </p:nvSpPr>
        <p:spPr>
          <a:xfrm>
            <a:off x="558800" y="-635000"/>
            <a:ext cx="444500" cy="444500"/>
          </a:xfrm>
          <a:prstGeom prst="ellipse">
            <a:avLst/>
          </a:prstGeom>
          <a:solidFill>
            <a:srgbClr val="90B0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6682FED-664D-44EA-9502-B4401CE465AA}"/>
              </a:ext>
            </a:extLst>
          </p:cNvPr>
          <p:cNvSpPr/>
          <p:nvPr/>
        </p:nvSpPr>
        <p:spPr>
          <a:xfrm>
            <a:off x="1117600" y="-635000"/>
            <a:ext cx="444500" cy="444500"/>
          </a:xfrm>
          <a:prstGeom prst="ellipse">
            <a:avLst/>
          </a:prstGeom>
          <a:solidFill>
            <a:srgbClr val="2A3E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B8D0CD9-2222-4EAB-80DA-05CE0B3CF50E}"/>
              </a:ext>
            </a:extLst>
          </p:cNvPr>
          <p:cNvSpPr/>
          <p:nvPr/>
        </p:nvSpPr>
        <p:spPr>
          <a:xfrm>
            <a:off x="1676400" y="-635000"/>
            <a:ext cx="444500" cy="444500"/>
          </a:xfrm>
          <a:prstGeom prst="ellipse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39E06BB-9A1A-40F4-8C02-FF0936F8BB4C}"/>
              </a:ext>
            </a:extLst>
          </p:cNvPr>
          <p:cNvSpPr/>
          <p:nvPr/>
        </p:nvSpPr>
        <p:spPr>
          <a:xfrm>
            <a:off x="2235200" y="-635000"/>
            <a:ext cx="444500" cy="444500"/>
          </a:xfrm>
          <a:prstGeom prst="ellipse">
            <a:avLst/>
          </a:prstGeom>
          <a:solidFill>
            <a:srgbClr val="D7ED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6BFB6E9-B315-4140-8C1B-98453CDD60F1}"/>
              </a:ext>
            </a:extLst>
          </p:cNvPr>
          <p:cNvSpPr/>
          <p:nvPr/>
        </p:nvSpPr>
        <p:spPr>
          <a:xfrm>
            <a:off x="2794000" y="-635000"/>
            <a:ext cx="444500" cy="444500"/>
          </a:xfrm>
          <a:prstGeom prst="ellipse">
            <a:avLst/>
          </a:prstGeom>
          <a:solidFill>
            <a:srgbClr val="FDFE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BA00F6BD-ABD4-4B87-80EE-C5ED4FFBABCC}"/>
              </a:ext>
            </a:extLst>
          </p:cNvPr>
          <p:cNvSpPr/>
          <p:nvPr/>
        </p:nvSpPr>
        <p:spPr>
          <a:xfrm flipH="1">
            <a:off x="7518400" y="986970"/>
            <a:ext cx="4673600" cy="5871029"/>
          </a:xfrm>
          <a:prstGeom prst="round1Rect">
            <a:avLst/>
          </a:prstGeom>
          <a:solidFill>
            <a:srgbClr val="D7EDC7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7704C4-D420-491B-8C40-7D3ECDD781BC}"/>
              </a:ext>
            </a:extLst>
          </p:cNvPr>
          <p:cNvSpPr txBox="1"/>
          <p:nvPr/>
        </p:nvSpPr>
        <p:spPr>
          <a:xfrm>
            <a:off x="647536" y="1787111"/>
            <a:ext cx="6155531" cy="123110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0" b="1" dirty="0">
                <a:solidFill>
                  <a:schemeClr val="bg1"/>
                </a:solidFill>
              </a:rPr>
              <a:t>LLM 2 LEAF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898795-C6DE-4008-A928-3F4CDC7897B4}"/>
              </a:ext>
            </a:extLst>
          </p:cNvPr>
          <p:cNvSpPr txBox="1"/>
          <p:nvPr/>
        </p:nvSpPr>
        <p:spPr>
          <a:xfrm>
            <a:off x="744644" y="3018217"/>
            <a:ext cx="55667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Use your favorite LLMs with net zero CO</a:t>
            </a:r>
            <a:r>
              <a:rPr lang="en-US" sz="1600" baseline="-25000" dirty="0">
                <a:solidFill>
                  <a:schemeClr val="bg1"/>
                </a:solidFill>
              </a:rPr>
              <a:t>2  </a:t>
            </a:r>
            <a:r>
              <a:rPr lang="en-US" sz="1600" dirty="0">
                <a:solidFill>
                  <a:schemeClr val="bg1"/>
                </a:solidFill>
              </a:rPr>
              <a:t>emissions</a:t>
            </a:r>
            <a:endParaRPr lang="en-US" sz="1600" baseline="-2500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F15DDD-3A8E-4D1C-992C-25A6CA7AF82C}"/>
              </a:ext>
            </a:extLst>
          </p:cNvPr>
          <p:cNvSpPr txBox="1"/>
          <p:nvPr/>
        </p:nvSpPr>
        <p:spPr>
          <a:xfrm>
            <a:off x="1153372" y="468312"/>
            <a:ext cx="149055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LM 2 LEAF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C60A45-3DB6-4596-B21E-9EF4114BA878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1205457-0811-4FBC-A795-BBAFD80C9CD7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46EE3D1-DC52-4B65-98F4-8CA8BF5E401E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5DD88DB-1F75-48E5-8F5A-F730EB473A86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Picture 31" descr="Green-leafed Plant">
            <a:extLst>
              <a:ext uri="{FF2B5EF4-FFF2-40B4-BE49-F238E27FC236}">
                <a16:creationId xmlns:a16="http://schemas.microsoft.com/office/drawing/2014/main" id="{1393E241-A3C1-4C3D-8DD8-ED8E4D0C5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53"/>
          <a:stretch>
            <a:fillRect/>
          </a:stretch>
        </p:blipFill>
        <p:spPr bwMode="auto">
          <a:xfrm>
            <a:off x="7518401" y="986970"/>
            <a:ext cx="4673599" cy="5871029"/>
          </a:xfrm>
          <a:custGeom>
            <a:avLst/>
            <a:gdLst>
              <a:gd name="connsiteX0" fmla="*/ 778949 w 4673599"/>
              <a:gd name="connsiteY0" fmla="*/ 0 h 5871029"/>
              <a:gd name="connsiteX1" fmla="*/ 4673599 w 4673599"/>
              <a:gd name="connsiteY1" fmla="*/ 0 h 5871029"/>
              <a:gd name="connsiteX2" fmla="*/ 4673599 w 4673599"/>
              <a:gd name="connsiteY2" fmla="*/ 5871029 h 5871029"/>
              <a:gd name="connsiteX3" fmla="*/ 0 w 4673599"/>
              <a:gd name="connsiteY3" fmla="*/ 5871029 h 5871029"/>
              <a:gd name="connsiteX4" fmla="*/ 0 w 4673599"/>
              <a:gd name="connsiteY4" fmla="*/ 778949 h 5871029"/>
              <a:gd name="connsiteX5" fmla="*/ 778949 w 4673599"/>
              <a:gd name="connsiteY5" fmla="*/ 0 h 587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3599" h="5871029">
                <a:moveTo>
                  <a:pt x="778949" y="0"/>
                </a:moveTo>
                <a:lnTo>
                  <a:pt x="4673599" y="0"/>
                </a:lnTo>
                <a:lnTo>
                  <a:pt x="4673599" y="5871029"/>
                </a:lnTo>
                <a:lnTo>
                  <a:pt x="0" y="5871029"/>
                </a:lnTo>
                <a:lnTo>
                  <a:pt x="0" y="778949"/>
                </a:lnTo>
                <a:cubicBezTo>
                  <a:pt x="0" y="348747"/>
                  <a:pt x="348747" y="0"/>
                  <a:pt x="778949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A680EDD-03F5-4CFF-A40B-D3912B65D2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666" y="385832"/>
            <a:ext cx="2816472" cy="1676886"/>
          </a:xfrm>
          <a:prstGeom prst="rect">
            <a:avLst/>
          </a:prstGeom>
        </p:spPr>
      </p:pic>
      <p:pic>
        <p:nvPicPr>
          <p:cNvPr id="1377" name="Graphic 1376">
            <a:extLst>
              <a:ext uri="{FF2B5EF4-FFF2-40B4-BE49-F238E27FC236}">
                <a16:creationId xmlns:a16="http://schemas.microsoft.com/office/drawing/2014/main" id="{0DE58F00-7DF8-4DC1-8E6C-BFB9E9FA0E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171987" y="4075345"/>
            <a:ext cx="1525277" cy="3315820"/>
          </a:xfrm>
          <a:prstGeom prst="rect">
            <a:avLst/>
          </a:prstGeom>
        </p:spPr>
      </p:pic>
      <p:pic>
        <p:nvPicPr>
          <p:cNvPr id="1379" name="Graphic 1378">
            <a:extLst>
              <a:ext uri="{FF2B5EF4-FFF2-40B4-BE49-F238E27FC236}">
                <a16:creationId xmlns:a16="http://schemas.microsoft.com/office/drawing/2014/main" id="{8A6FC5A6-E874-4766-8949-4C4ABFC12C6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05036" y="4362057"/>
            <a:ext cx="1194638" cy="2730601"/>
          </a:xfrm>
          <a:prstGeom prst="rect">
            <a:avLst/>
          </a:prstGeom>
        </p:spPr>
      </p:pic>
      <p:pic>
        <p:nvPicPr>
          <p:cNvPr id="1382" name="Graphic 1381">
            <a:extLst>
              <a:ext uri="{FF2B5EF4-FFF2-40B4-BE49-F238E27FC236}">
                <a16:creationId xmlns:a16="http://schemas.microsoft.com/office/drawing/2014/main" id="{DD913929-155B-4D1C-9292-77335173F3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21867">
            <a:off x="7515675" y="4528686"/>
            <a:ext cx="1173145" cy="2510941"/>
          </a:xfrm>
          <a:prstGeom prst="rect">
            <a:avLst/>
          </a:prstGeom>
        </p:spPr>
      </p:pic>
      <p:pic>
        <p:nvPicPr>
          <p:cNvPr id="1383" name="Graphic 1382">
            <a:extLst>
              <a:ext uri="{FF2B5EF4-FFF2-40B4-BE49-F238E27FC236}">
                <a16:creationId xmlns:a16="http://schemas.microsoft.com/office/drawing/2014/main" id="{682E9BA8-0316-40EE-B8C9-3B910B947EA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6664766">
            <a:off x="6240679" y="5514772"/>
            <a:ext cx="1361312" cy="1563821"/>
          </a:xfrm>
          <a:prstGeom prst="rect">
            <a:avLst/>
          </a:prstGeom>
        </p:spPr>
      </p:pic>
      <p:pic>
        <p:nvPicPr>
          <p:cNvPr id="1375" name="Picture 1374">
            <a:extLst>
              <a:ext uri="{FF2B5EF4-FFF2-40B4-BE49-F238E27FC236}">
                <a16:creationId xmlns:a16="http://schemas.microsoft.com/office/drawing/2014/main" id="{C1084779-F7D5-447B-AFAB-3BF529D477C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5547" y="2161131"/>
            <a:ext cx="1388163" cy="1946742"/>
          </a:xfrm>
          <a:prstGeom prst="rect">
            <a:avLst/>
          </a:prstGeom>
        </p:spPr>
      </p:pic>
      <p:pic>
        <p:nvPicPr>
          <p:cNvPr id="457" name="Graphic 456">
            <a:extLst>
              <a:ext uri="{FF2B5EF4-FFF2-40B4-BE49-F238E27FC236}">
                <a16:creationId xmlns:a16="http://schemas.microsoft.com/office/drawing/2014/main" id="{71085EBF-621A-4C9D-94A1-AAD06E65869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3371695">
            <a:off x="9776635" y="5629309"/>
            <a:ext cx="1505517" cy="1729478"/>
          </a:xfrm>
          <a:prstGeom prst="rect">
            <a:avLst/>
          </a:prstGeom>
        </p:spPr>
      </p:pic>
      <p:pic>
        <p:nvPicPr>
          <p:cNvPr id="1381" name="Graphic 1380">
            <a:extLst>
              <a:ext uri="{FF2B5EF4-FFF2-40B4-BE49-F238E27FC236}">
                <a16:creationId xmlns:a16="http://schemas.microsoft.com/office/drawing/2014/main" id="{D17CB0D1-3A16-4D54-8ED7-068F09619A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12939" y="5191699"/>
            <a:ext cx="934985" cy="1856801"/>
          </a:xfrm>
          <a:prstGeom prst="rect">
            <a:avLst/>
          </a:prstGeom>
        </p:spPr>
      </p:pic>
      <p:pic>
        <p:nvPicPr>
          <p:cNvPr id="1384" name="Graphic 1383">
            <a:extLst>
              <a:ext uri="{FF2B5EF4-FFF2-40B4-BE49-F238E27FC236}">
                <a16:creationId xmlns:a16="http://schemas.microsoft.com/office/drawing/2014/main" id="{06E47D55-D461-4D28-ABDB-1F8D315F29D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145914" y="4696664"/>
            <a:ext cx="1349178" cy="1925750"/>
          </a:xfrm>
          <a:prstGeom prst="rect">
            <a:avLst/>
          </a:prstGeom>
        </p:spPr>
      </p:pic>
      <p:pic>
        <p:nvPicPr>
          <p:cNvPr id="458" name="Graphic 457">
            <a:extLst>
              <a:ext uri="{FF2B5EF4-FFF2-40B4-BE49-F238E27FC236}">
                <a16:creationId xmlns:a16="http://schemas.microsoft.com/office/drawing/2014/main" id="{065C9871-4B8C-47B7-8604-D975CB37F9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069644" y="5004913"/>
            <a:ext cx="772715" cy="1534546"/>
          </a:xfrm>
          <a:prstGeom prst="rect">
            <a:avLst/>
          </a:prstGeom>
        </p:spPr>
      </p:pic>
      <p:pic>
        <p:nvPicPr>
          <p:cNvPr id="1385" name="Graphic 1384">
            <a:extLst>
              <a:ext uri="{FF2B5EF4-FFF2-40B4-BE49-F238E27FC236}">
                <a16:creationId xmlns:a16="http://schemas.microsoft.com/office/drawing/2014/main" id="{E86959AA-0054-4D22-83B6-89C03A718F9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536619" y="5419968"/>
            <a:ext cx="1954192" cy="2018264"/>
          </a:xfrm>
          <a:prstGeom prst="rect">
            <a:avLst/>
          </a:prstGeom>
        </p:spPr>
      </p:pic>
      <p:pic>
        <p:nvPicPr>
          <p:cNvPr id="1386" name="Graphic 1385">
            <a:extLst>
              <a:ext uri="{FF2B5EF4-FFF2-40B4-BE49-F238E27FC236}">
                <a16:creationId xmlns:a16="http://schemas.microsoft.com/office/drawing/2014/main" id="{27A30A95-75D8-43F4-A9D3-BB691BD9E56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1297693" flipH="1">
            <a:off x="7537538" y="5550830"/>
            <a:ext cx="1631140" cy="1661628"/>
          </a:xfrm>
          <a:prstGeom prst="rect">
            <a:avLst/>
          </a:prstGeom>
        </p:spPr>
      </p:pic>
      <p:sp>
        <p:nvSpPr>
          <p:cNvPr id="465" name="TextBox 464">
            <a:extLst>
              <a:ext uri="{FF2B5EF4-FFF2-40B4-BE49-F238E27FC236}">
                <a16:creationId xmlns:a16="http://schemas.microsoft.com/office/drawing/2014/main" id="{75378069-CC8B-46B1-A531-1B90E9D05524}"/>
              </a:ext>
            </a:extLst>
          </p:cNvPr>
          <p:cNvSpPr txBox="1"/>
          <p:nvPr/>
        </p:nvSpPr>
        <p:spPr>
          <a:xfrm>
            <a:off x="1261569" y="6603758"/>
            <a:ext cx="392290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By, Faeq Faisal, Hamza </a:t>
            </a:r>
            <a:r>
              <a:rPr lang="en-US" sz="1050" dirty="0" err="1">
                <a:solidFill>
                  <a:schemeClr val="bg1"/>
                </a:solidFill>
              </a:rPr>
              <a:t>Wahbi</a:t>
            </a:r>
            <a:r>
              <a:rPr lang="en-US" sz="1050" dirty="0">
                <a:solidFill>
                  <a:schemeClr val="bg1"/>
                </a:solidFill>
              </a:rPr>
              <a:t> &amp; Benyamin Bansal</a:t>
            </a:r>
          </a:p>
        </p:txBody>
      </p:sp>
      <p:pic>
        <p:nvPicPr>
          <p:cNvPr id="25" name="Graphic 24" descr="Leaf with solid fill">
            <a:extLst>
              <a:ext uri="{FF2B5EF4-FFF2-40B4-BE49-F238E27FC236}">
                <a16:creationId xmlns:a16="http://schemas.microsoft.com/office/drawing/2014/main" id="{5275618F-65DF-E0F9-95B6-7FCB98FC58B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-1209275" y="5235298"/>
            <a:ext cx="914400" cy="914400"/>
          </a:xfrm>
          <a:prstGeom prst="rect">
            <a:avLst/>
          </a:prstGeom>
        </p:spPr>
      </p:pic>
      <p:pic>
        <p:nvPicPr>
          <p:cNvPr id="27" name="Graphic 26" descr="Leaf outline">
            <a:extLst>
              <a:ext uri="{FF2B5EF4-FFF2-40B4-BE49-F238E27FC236}">
                <a16:creationId xmlns:a16="http://schemas.microsoft.com/office/drawing/2014/main" id="{F4CBB91E-55F3-5044-2F93-3E04466D2AA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99757" y="367127"/>
            <a:ext cx="413217" cy="413217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0CD618F2-46D3-4DA6-BF1C-E3B3AF8AE5AC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049670" y="2922259"/>
            <a:ext cx="327932" cy="327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803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E62FE0E-AFCC-46A2-A90D-8F7193261828}"/>
              </a:ext>
            </a:extLst>
          </p:cNvPr>
          <p:cNvSpPr/>
          <p:nvPr/>
        </p:nvSpPr>
        <p:spPr>
          <a:xfrm>
            <a:off x="0" y="-1"/>
            <a:ext cx="12192000" cy="5532409"/>
          </a:xfrm>
          <a:prstGeom prst="rect">
            <a:avLst/>
          </a:prstGeom>
          <a:gradFill flip="none" rotWithShape="1">
            <a:gsLst>
              <a:gs pos="0">
                <a:srgbClr val="30574C"/>
              </a:gs>
              <a:gs pos="45000">
                <a:srgbClr val="50745C"/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614DD6-1171-4415-84E9-E34077D88D71}"/>
              </a:ext>
            </a:extLst>
          </p:cNvPr>
          <p:cNvGrpSpPr/>
          <p:nvPr/>
        </p:nvGrpSpPr>
        <p:grpSpPr>
          <a:xfrm>
            <a:off x="9436937" y="3691996"/>
            <a:ext cx="2934631" cy="2724702"/>
            <a:chOff x="9436937" y="3691996"/>
            <a:chExt cx="2934631" cy="2724702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36DA421F-49D0-4CCE-A452-21F5C2D37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1F665891-2963-41FE-83BE-B4A2AABE62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0D21FDC3-F6A5-40D4-AFA4-708AE924F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32" name="Graphic 460">
              <a:extLst>
                <a:ext uri="{FF2B5EF4-FFF2-40B4-BE49-F238E27FC236}">
                  <a16:creationId xmlns:a16="http://schemas.microsoft.com/office/drawing/2014/main" id="{F433D9C5-01CD-4408-A2EF-C7D04AA47B0C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FAAAF1B-25C8-4AD2-A6A7-C5DFA6CDE5F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41" r="46197"/>
          <a:stretch/>
        </p:blipFill>
        <p:spPr>
          <a:xfrm rot="5400000">
            <a:off x="4742758" y="-567505"/>
            <a:ext cx="2703141" cy="12192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99D2FA-193C-4E7A-B9C5-CE7E484619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343466">
            <a:off x="-2315101" y="3629286"/>
            <a:ext cx="5965371" cy="28447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BA0965D-04A6-44F2-AC42-BDDA0CF2F3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9794341">
            <a:off x="532781" y="2789549"/>
            <a:ext cx="1106311" cy="241582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2174154-F6F8-459C-8D65-A07475B59702}"/>
              </a:ext>
            </a:extLst>
          </p:cNvPr>
          <p:cNvSpPr txBox="1"/>
          <p:nvPr/>
        </p:nvSpPr>
        <p:spPr>
          <a:xfrm>
            <a:off x="6833828" y="1738014"/>
            <a:ext cx="3848686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Nunc viverra imperdiet enim. Fusce est. Vivamus a </a:t>
            </a:r>
            <a:r>
              <a:rPr lang="en-US" sz="1400">
                <a:solidFill>
                  <a:schemeClr val="bg1"/>
                </a:solidFill>
              </a:rPr>
              <a:t>tellu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0C42D1-9CAB-4B5A-9358-F35F87B21F4E}"/>
              </a:ext>
            </a:extLst>
          </p:cNvPr>
          <p:cNvSpPr txBox="1"/>
          <p:nvPr/>
        </p:nvSpPr>
        <p:spPr>
          <a:xfrm>
            <a:off x="6833826" y="1200062"/>
            <a:ext cx="35874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Save natural habitats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FE6338-F047-4D7D-804F-2FCD7FD5548E}"/>
              </a:ext>
            </a:extLst>
          </p:cNvPr>
          <p:cNvSpPr txBox="1"/>
          <p:nvPr/>
        </p:nvSpPr>
        <p:spPr>
          <a:xfrm>
            <a:off x="1335168" y="843119"/>
            <a:ext cx="472249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>
                <a:solidFill>
                  <a:srgbClr val="E1BE63"/>
                </a:solidFill>
              </a:rPr>
              <a:t>ABOU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5AF696-1BE9-46F9-8C7A-1CA1F0CB70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93614" y="3767819"/>
            <a:ext cx="3685058" cy="34699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FFE1F7A-34D5-4570-AE03-AB910E2C4B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77436" y="5350153"/>
            <a:ext cx="2318247" cy="171216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228AD11-43AA-4E33-84DD-9F77AE02776B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564A70D-9363-494F-B2B4-EA11EDAD98A9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ACF3565-B418-4FDA-A614-19E261F7B7FD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77C148A-C32A-4DE8-926F-BA12B1C51CB3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968F125-FEF7-4701-B0A7-B9F50F7CB8FA}"/>
              </a:ext>
            </a:extLst>
          </p:cNvPr>
          <p:cNvSpPr/>
          <p:nvPr/>
        </p:nvSpPr>
        <p:spPr>
          <a:xfrm>
            <a:off x="6778478" y="3793177"/>
            <a:ext cx="1441776" cy="416789"/>
          </a:xfrm>
          <a:prstGeom prst="roundRect">
            <a:avLst>
              <a:gd name="adj" fmla="val 50000"/>
            </a:avLst>
          </a:prstGeom>
          <a:solidFill>
            <a:srgbClr val="E1BE63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More in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6D1E16F-DEAD-4B73-BA29-23B993ABB44A}"/>
              </a:ext>
            </a:extLst>
          </p:cNvPr>
          <p:cNvSpPr txBox="1"/>
          <p:nvPr/>
        </p:nvSpPr>
        <p:spPr>
          <a:xfrm>
            <a:off x="1335168" y="1200062"/>
            <a:ext cx="5089527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WILDLIFE AND </a:t>
            </a:r>
            <a:r>
              <a:rPr lang="en-US" sz="4000" b="1" dirty="0">
                <a:solidFill>
                  <a:srgbClr val="E1BE63"/>
                </a:solidFill>
              </a:rPr>
              <a:t>NATURAL HABITATS</a:t>
            </a:r>
          </a:p>
        </p:txBody>
      </p:sp>
    </p:spTree>
    <p:extLst>
      <p:ext uri="{BB962C8B-B14F-4D97-AF65-F5344CB8AC3E}">
        <p14:creationId xmlns:p14="http://schemas.microsoft.com/office/powerpoint/2010/main" val="2080984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CD2C470-7DB1-46C1-B4ED-F281E11A0EA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710FADB-FDF2-4BB7-BBDC-58D773957E5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35000"/>
                </a:srgbClr>
              </a:gs>
              <a:gs pos="45000">
                <a:srgbClr val="50745C">
                  <a:alpha val="67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3FA21A-0AEB-4CB2-BFE7-B9CC56AF5EC2}"/>
              </a:ext>
            </a:extLst>
          </p:cNvPr>
          <p:cNvSpPr/>
          <p:nvPr/>
        </p:nvSpPr>
        <p:spPr>
          <a:xfrm>
            <a:off x="0" y="-635000"/>
            <a:ext cx="444500" cy="444500"/>
          </a:xfrm>
          <a:prstGeom prst="ellipse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7AC3DD-B7A5-4684-AD31-365A78C03E41}"/>
              </a:ext>
            </a:extLst>
          </p:cNvPr>
          <p:cNvSpPr/>
          <p:nvPr/>
        </p:nvSpPr>
        <p:spPr>
          <a:xfrm>
            <a:off x="558800" y="-635000"/>
            <a:ext cx="444500" cy="444500"/>
          </a:xfrm>
          <a:prstGeom prst="ellipse">
            <a:avLst/>
          </a:prstGeom>
          <a:solidFill>
            <a:srgbClr val="90B0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5D21E47-E947-45C4-9C84-E172F4D50C0B}"/>
              </a:ext>
            </a:extLst>
          </p:cNvPr>
          <p:cNvSpPr/>
          <p:nvPr/>
        </p:nvSpPr>
        <p:spPr>
          <a:xfrm>
            <a:off x="1117600" y="-635000"/>
            <a:ext cx="444500" cy="444500"/>
          </a:xfrm>
          <a:prstGeom prst="ellipse">
            <a:avLst/>
          </a:prstGeom>
          <a:solidFill>
            <a:srgbClr val="2A3E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8E407E5-418A-4617-B129-5D446B8B19CC}"/>
              </a:ext>
            </a:extLst>
          </p:cNvPr>
          <p:cNvSpPr/>
          <p:nvPr/>
        </p:nvSpPr>
        <p:spPr>
          <a:xfrm>
            <a:off x="1676400" y="-635000"/>
            <a:ext cx="444500" cy="444500"/>
          </a:xfrm>
          <a:prstGeom prst="ellipse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3E22BB8-C8BF-4BB5-A78E-5E388DA81AFF}"/>
              </a:ext>
            </a:extLst>
          </p:cNvPr>
          <p:cNvSpPr/>
          <p:nvPr/>
        </p:nvSpPr>
        <p:spPr>
          <a:xfrm>
            <a:off x="2235200" y="-635000"/>
            <a:ext cx="444500" cy="444500"/>
          </a:xfrm>
          <a:prstGeom prst="ellipse">
            <a:avLst/>
          </a:prstGeom>
          <a:solidFill>
            <a:srgbClr val="D7ED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6E085F2-D142-4A00-8704-1AC99002A1E7}"/>
              </a:ext>
            </a:extLst>
          </p:cNvPr>
          <p:cNvSpPr/>
          <p:nvPr/>
        </p:nvSpPr>
        <p:spPr>
          <a:xfrm>
            <a:off x="-4" y="4556976"/>
            <a:ext cx="12192000" cy="2313516"/>
          </a:xfrm>
          <a:prstGeom prst="rect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363B50-BACA-4690-BD10-87CC429FBB88}"/>
              </a:ext>
            </a:extLst>
          </p:cNvPr>
          <p:cNvSpPr/>
          <p:nvPr/>
        </p:nvSpPr>
        <p:spPr>
          <a:xfrm>
            <a:off x="2794000" y="-635000"/>
            <a:ext cx="444500" cy="444500"/>
          </a:xfrm>
          <a:prstGeom prst="ellipse">
            <a:avLst/>
          </a:prstGeom>
          <a:solidFill>
            <a:srgbClr val="FDFE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49034608-E0B1-408A-AF53-0D5A1E5F70C2}"/>
              </a:ext>
            </a:extLst>
          </p:cNvPr>
          <p:cNvSpPr/>
          <p:nvPr/>
        </p:nvSpPr>
        <p:spPr>
          <a:xfrm flipH="1">
            <a:off x="7099299" y="1231692"/>
            <a:ext cx="5092697" cy="5638800"/>
          </a:xfrm>
          <a:prstGeom prst="round1Rect">
            <a:avLst>
              <a:gd name="adj" fmla="val 18468"/>
            </a:avLst>
          </a:prstGeom>
          <a:gradFill>
            <a:gsLst>
              <a:gs pos="0">
                <a:srgbClr val="30574C"/>
              </a:gs>
              <a:gs pos="100000">
                <a:srgbClr val="2A3E33"/>
              </a:gs>
            </a:gsLst>
            <a:lin ang="3600000" scaled="0"/>
          </a:gra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4247776-AE13-4356-863B-7E32BF1F7265}"/>
              </a:ext>
            </a:extLst>
          </p:cNvPr>
          <p:cNvSpPr/>
          <p:nvPr/>
        </p:nvSpPr>
        <p:spPr>
          <a:xfrm>
            <a:off x="1447800" y="3214100"/>
            <a:ext cx="9812968" cy="2908299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22CD36-BA82-4BF2-8628-E6A9E702941A}"/>
              </a:ext>
            </a:extLst>
          </p:cNvPr>
          <p:cNvSpPr txBox="1"/>
          <p:nvPr/>
        </p:nvSpPr>
        <p:spPr>
          <a:xfrm>
            <a:off x="8199783" y="1627595"/>
            <a:ext cx="3619784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Our Mission </a:t>
            </a:r>
          </a:p>
          <a:p>
            <a:r>
              <a:rPr lang="en-US" sz="4400" b="1" dirty="0">
                <a:solidFill>
                  <a:srgbClr val="E1BE63"/>
                </a:solidFill>
              </a:rPr>
              <a:t>w/ </a:t>
            </a:r>
            <a:r>
              <a:rPr lang="en-US" sz="4400" b="1" dirty="0" err="1">
                <a:solidFill>
                  <a:srgbClr val="E1BE63"/>
                </a:solidFill>
              </a:rPr>
              <a:t>Verdn</a:t>
            </a:r>
            <a:endParaRPr lang="en-US" sz="4400" b="1" dirty="0">
              <a:solidFill>
                <a:srgbClr val="E1BE63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3F0945-E6AB-40A1-99A9-A34A35F83266}"/>
              </a:ext>
            </a:extLst>
          </p:cNvPr>
          <p:cNvSpPr txBox="1"/>
          <p:nvPr/>
        </p:nvSpPr>
        <p:spPr>
          <a:xfrm>
            <a:off x="6180684" y="4511296"/>
            <a:ext cx="440091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cking CO₂ emissions generated from each inter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vide users with a transparent view of their environmental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ffer contributions towards tree planting initiatives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BBC52A4-8695-4FBD-B3F5-1DE586ED822B}"/>
              </a:ext>
            </a:extLst>
          </p:cNvPr>
          <p:cNvSpPr txBox="1"/>
          <p:nvPr/>
        </p:nvSpPr>
        <p:spPr>
          <a:xfrm>
            <a:off x="6180683" y="3607548"/>
            <a:ext cx="44009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ducing Carbon Footpri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D14EBC-9DA6-4361-B81D-41A24B53E53D}"/>
              </a:ext>
            </a:extLst>
          </p:cNvPr>
          <p:cNvSpPr txBox="1"/>
          <p:nvPr/>
        </p:nvSpPr>
        <p:spPr>
          <a:xfrm>
            <a:off x="6180683" y="4096957"/>
            <a:ext cx="44009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king LLM usage Net Zero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EF751B3-2A77-45BF-A8E3-6F8958D78370}"/>
              </a:ext>
            </a:extLst>
          </p:cNvPr>
          <p:cNvCxnSpPr/>
          <p:nvPr/>
        </p:nvCxnSpPr>
        <p:spPr>
          <a:xfrm>
            <a:off x="6180683" y="400529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Trees during Day">
            <a:extLst>
              <a:ext uri="{FF2B5EF4-FFF2-40B4-BE49-F238E27FC236}">
                <a16:creationId xmlns:a16="http://schemas.microsoft.com/office/drawing/2014/main" id="{50021F69-4E38-49E6-8E8D-725344C855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38" t="1228" r="4859" b="2396"/>
          <a:stretch/>
        </p:blipFill>
        <p:spPr bwMode="auto">
          <a:xfrm rot="5400000">
            <a:off x="2661027" y="2839979"/>
            <a:ext cx="2202654" cy="365654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97641E72-43F7-4DA2-BE8E-F1B6D0F6DA39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9D69D21-091A-4BD6-978F-983976368CA1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E1F03EC-C431-4EF7-890C-5AB58C23057F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5E14757-1EB7-4A9F-BC8D-BBFF9091E15E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9402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A close up of a green plant&#10;&#10;Description automatically generated">
            <a:extLst>
              <a:ext uri="{FF2B5EF4-FFF2-40B4-BE49-F238E27FC236}">
                <a16:creationId xmlns:a16="http://schemas.microsoft.com/office/drawing/2014/main" id="{3FE99D16-C7EB-4296-AF8A-B843BD73A3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-1"/>
            <a:ext cx="12191996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20FB778-7176-4A9A-9AC5-75C11B72616D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7711E1-4564-4762-BC6E-9E9D4C9C1D7B}"/>
              </a:ext>
            </a:extLst>
          </p:cNvPr>
          <p:cNvSpPr txBox="1"/>
          <p:nvPr/>
        </p:nvSpPr>
        <p:spPr>
          <a:xfrm>
            <a:off x="957805" y="570365"/>
            <a:ext cx="472249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400" b="1" dirty="0">
                <a:solidFill>
                  <a:schemeClr val="bg1"/>
                </a:solidFill>
              </a:rPr>
              <a:t>WHO </a:t>
            </a:r>
            <a:r>
              <a:rPr lang="id-ID" sz="4400" b="1" dirty="0">
                <a:solidFill>
                  <a:srgbClr val="E1BE63"/>
                </a:solidFill>
              </a:rPr>
              <a:t>WE ARE?</a:t>
            </a:r>
            <a:endParaRPr lang="en-US" sz="4400" b="1" dirty="0">
              <a:solidFill>
                <a:srgbClr val="E1BE63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37AD764-B1DD-4EB4-B489-FB9E1D2A9ED6}"/>
              </a:ext>
            </a:extLst>
          </p:cNvPr>
          <p:cNvGrpSpPr/>
          <p:nvPr/>
        </p:nvGrpSpPr>
        <p:grpSpPr>
          <a:xfrm>
            <a:off x="9678882" y="104713"/>
            <a:ext cx="2297437" cy="2133090"/>
            <a:chOff x="9436937" y="3691996"/>
            <a:chExt cx="2934631" cy="2724702"/>
          </a:xfrm>
        </p:grpSpPr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DA9039D4-C193-4F08-864C-50F6DF546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CF4388BE-5593-4BAB-BC55-D8D6750FE7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C7DF244D-D0F7-4DA0-958B-F3CF9B12A3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67" name="Graphic 460">
              <a:extLst>
                <a:ext uri="{FF2B5EF4-FFF2-40B4-BE49-F238E27FC236}">
                  <a16:creationId xmlns:a16="http://schemas.microsoft.com/office/drawing/2014/main" id="{DFD6AE39-EBB2-4047-A74C-ED7B17751E35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AA9D04A7-00C2-47F0-A1B6-0DC218EE7D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449360" y="3050134"/>
            <a:ext cx="8427572" cy="4018987"/>
          </a:xfrm>
          <a:prstGeom prst="rect">
            <a:avLst/>
          </a:prstGeom>
        </p:spPr>
      </p:pic>
      <p:sp>
        <p:nvSpPr>
          <p:cNvPr id="34" name="Rectangle: Single Corner Rounded 33">
            <a:extLst>
              <a:ext uri="{FF2B5EF4-FFF2-40B4-BE49-F238E27FC236}">
                <a16:creationId xmlns:a16="http://schemas.microsoft.com/office/drawing/2014/main" id="{647E9048-F395-4F08-BCDA-F8B9356ACB6B}"/>
              </a:ext>
            </a:extLst>
          </p:cNvPr>
          <p:cNvSpPr/>
          <p:nvPr/>
        </p:nvSpPr>
        <p:spPr>
          <a:xfrm flipH="1">
            <a:off x="7099299" y="1231692"/>
            <a:ext cx="5092697" cy="5638800"/>
          </a:xfrm>
          <a:prstGeom prst="round1Rect">
            <a:avLst>
              <a:gd name="adj" fmla="val 18468"/>
            </a:avLst>
          </a:prstGeom>
          <a:solidFill>
            <a:srgbClr val="E1BE63"/>
          </a:soli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AD3A3F3A-7C4D-423B-9FB2-E3431E0582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8900000">
            <a:off x="7591296" y="4203909"/>
            <a:ext cx="5965371" cy="2844799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D2565E6-6183-4B9C-ADD6-9AA6A954DC77}"/>
              </a:ext>
            </a:extLst>
          </p:cNvPr>
          <p:cNvSpPr/>
          <p:nvPr/>
        </p:nvSpPr>
        <p:spPr>
          <a:xfrm>
            <a:off x="8001077" y="2944336"/>
            <a:ext cx="3233118" cy="3140913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C1469C-696A-42C9-A640-5C0DFCCB9586}"/>
              </a:ext>
            </a:extLst>
          </p:cNvPr>
          <p:cNvSpPr txBox="1"/>
          <p:nvPr/>
        </p:nvSpPr>
        <p:spPr>
          <a:xfrm>
            <a:off x="8296352" y="4459160"/>
            <a:ext cx="276506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urna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82A43F-7A2F-45DA-9160-8C9BEED7C7DD}"/>
              </a:ext>
            </a:extLst>
          </p:cNvPr>
          <p:cNvSpPr txBox="1"/>
          <p:nvPr/>
        </p:nvSpPr>
        <p:spPr>
          <a:xfrm>
            <a:off x="8001077" y="1878087"/>
            <a:ext cx="27650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FUTURE</a:t>
            </a: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A0089D3-7B54-4F2B-A0FE-3F4196D88C25}"/>
              </a:ext>
            </a:extLst>
          </p:cNvPr>
          <p:cNvCxnSpPr>
            <a:cxnSpLocks/>
          </p:cNvCxnSpPr>
          <p:nvPr/>
        </p:nvCxnSpPr>
        <p:spPr>
          <a:xfrm>
            <a:off x="8296352" y="427882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57" descr="A close up of a tree&#10;&#10;Description automatically generated">
            <a:extLst>
              <a:ext uri="{FF2B5EF4-FFF2-40B4-BE49-F238E27FC236}">
                <a16:creationId xmlns:a16="http://schemas.microsoft.com/office/drawing/2014/main" id="{ECA7BC83-E007-4987-A3F2-A95FF24013D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66" b="36155"/>
          <a:stretch/>
        </p:blipFill>
        <p:spPr>
          <a:xfrm>
            <a:off x="8001073" y="2320731"/>
            <a:ext cx="2765061" cy="166563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4D31A07-6E62-4A16-898E-0C64A469C595}"/>
              </a:ext>
            </a:extLst>
          </p:cNvPr>
          <p:cNvSpPr/>
          <p:nvPr/>
        </p:nvSpPr>
        <p:spPr>
          <a:xfrm>
            <a:off x="957805" y="2944336"/>
            <a:ext cx="3167862" cy="3140913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F32D81-2812-48FF-A4B6-F706FE08C515}"/>
              </a:ext>
            </a:extLst>
          </p:cNvPr>
          <p:cNvSpPr txBox="1"/>
          <p:nvPr/>
        </p:nvSpPr>
        <p:spPr>
          <a:xfrm>
            <a:off x="1253080" y="4459160"/>
            <a:ext cx="276506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rna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8D6EB9-C5B8-46FC-8F04-0B6FB221D138}"/>
              </a:ext>
            </a:extLst>
          </p:cNvPr>
          <p:cNvSpPr txBox="1"/>
          <p:nvPr/>
        </p:nvSpPr>
        <p:spPr>
          <a:xfrm>
            <a:off x="957805" y="1878087"/>
            <a:ext cx="27650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BACKGROUND</a:t>
            </a: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974C0B1-5588-4B38-8A15-2010877A9ABF}"/>
              </a:ext>
            </a:extLst>
          </p:cNvPr>
          <p:cNvCxnSpPr>
            <a:cxnSpLocks/>
          </p:cNvCxnSpPr>
          <p:nvPr/>
        </p:nvCxnSpPr>
        <p:spPr>
          <a:xfrm>
            <a:off x="1253080" y="427882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CDEB11E-488C-4DA1-8B8B-34E0B64AFE3B}"/>
              </a:ext>
            </a:extLst>
          </p:cNvPr>
          <p:cNvSpPr/>
          <p:nvPr/>
        </p:nvSpPr>
        <p:spPr>
          <a:xfrm>
            <a:off x="4484850" y="2944336"/>
            <a:ext cx="3167862" cy="3140913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80CD5AC-BAD6-4316-984A-186622933911}"/>
              </a:ext>
            </a:extLst>
          </p:cNvPr>
          <p:cNvSpPr txBox="1"/>
          <p:nvPr/>
        </p:nvSpPr>
        <p:spPr>
          <a:xfrm>
            <a:off x="4780125" y="4459160"/>
            <a:ext cx="276506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urna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EA5F809-938F-4990-AA2F-C54B5CB71293}"/>
              </a:ext>
            </a:extLst>
          </p:cNvPr>
          <p:cNvSpPr txBox="1"/>
          <p:nvPr/>
        </p:nvSpPr>
        <p:spPr>
          <a:xfrm>
            <a:off x="4484850" y="1878087"/>
            <a:ext cx="27650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 dirty="0">
                <a:solidFill>
                  <a:schemeClr val="bg1"/>
                </a:solidFill>
              </a:rPr>
              <a:t>CURRENT WORK</a:t>
            </a:r>
            <a:endParaRPr lang="en-US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4B3564-A160-4404-B548-9094560B5538}"/>
              </a:ext>
            </a:extLst>
          </p:cNvPr>
          <p:cNvCxnSpPr>
            <a:cxnSpLocks/>
          </p:cNvCxnSpPr>
          <p:nvPr/>
        </p:nvCxnSpPr>
        <p:spPr>
          <a:xfrm>
            <a:off x="4780125" y="4278827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 descr="A picture containing road, green, train, forest&#10;&#10;Description automatically generated">
            <a:extLst>
              <a:ext uri="{FF2B5EF4-FFF2-40B4-BE49-F238E27FC236}">
                <a16:creationId xmlns:a16="http://schemas.microsoft.com/office/drawing/2014/main" id="{31367AD3-0338-483D-BDF4-47D9B9083FC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85" b="27380"/>
          <a:stretch/>
        </p:blipFill>
        <p:spPr>
          <a:xfrm>
            <a:off x="957805" y="2320731"/>
            <a:ext cx="2765061" cy="166564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pic>
        <p:nvPicPr>
          <p:cNvPr id="62" name="Picture 61" descr="A close up of a plant&#10;&#10;Description automatically generated">
            <a:extLst>
              <a:ext uri="{FF2B5EF4-FFF2-40B4-BE49-F238E27FC236}">
                <a16:creationId xmlns:a16="http://schemas.microsoft.com/office/drawing/2014/main" id="{E8C3E45E-0C0D-4ABA-8904-2B8E158C27D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0" t="32697" r="63516" b="4187"/>
          <a:stretch>
            <a:fillRect/>
          </a:stretch>
        </p:blipFill>
        <p:spPr>
          <a:xfrm>
            <a:off x="4484846" y="2320731"/>
            <a:ext cx="2765062" cy="166563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0990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plant&#10;&#10;Description automatically generated">
            <a:extLst>
              <a:ext uri="{FF2B5EF4-FFF2-40B4-BE49-F238E27FC236}">
                <a16:creationId xmlns:a16="http://schemas.microsoft.com/office/drawing/2014/main" id="{2B9147D8-40ED-4BBE-B666-2014ED8124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37024" b="848"/>
          <a:stretch/>
        </p:blipFill>
        <p:spPr>
          <a:xfrm>
            <a:off x="-1" y="0"/>
            <a:ext cx="12192001" cy="60833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C05FB0A-8057-4580-A607-DAD0B2E84705}"/>
              </a:ext>
            </a:extLst>
          </p:cNvPr>
          <p:cNvSpPr/>
          <p:nvPr/>
        </p:nvSpPr>
        <p:spPr>
          <a:xfrm>
            <a:off x="0" y="0"/>
            <a:ext cx="12192000" cy="6083300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78F6B13F-CE91-4A05-B2F9-0CCC1B097855}"/>
              </a:ext>
            </a:extLst>
          </p:cNvPr>
          <p:cNvSpPr/>
          <p:nvPr/>
        </p:nvSpPr>
        <p:spPr>
          <a:xfrm flipH="1">
            <a:off x="1178865" y="5100200"/>
            <a:ext cx="11013129" cy="1770291"/>
          </a:xfrm>
          <a:prstGeom prst="round1Rect">
            <a:avLst>
              <a:gd name="adj" fmla="val 44704"/>
            </a:avLst>
          </a:prstGeom>
          <a:solidFill>
            <a:srgbClr val="E1BE63"/>
          </a:soli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E089F9-8E3A-4EFD-8991-2EBD09CC4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343466">
            <a:off x="6637322" y="839936"/>
            <a:ext cx="5965371" cy="284479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1F2CF-6CF5-495D-97E9-18B079E544C1}"/>
              </a:ext>
            </a:extLst>
          </p:cNvPr>
          <p:cNvSpPr txBox="1"/>
          <p:nvPr/>
        </p:nvSpPr>
        <p:spPr>
          <a:xfrm>
            <a:off x="840196" y="1300382"/>
            <a:ext cx="2687095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000" b="1">
                <a:solidFill>
                  <a:schemeClr val="bg1"/>
                </a:solidFill>
              </a:rPr>
              <a:t>OUR </a:t>
            </a:r>
          </a:p>
          <a:p>
            <a:r>
              <a:rPr lang="id-ID" sz="4000" b="1">
                <a:solidFill>
                  <a:srgbClr val="E1BE63"/>
                </a:solidFill>
              </a:rPr>
              <a:t>TEAM</a:t>
            </a:r>
            <a:endParaRPr lang="en-US" sz="4000" b="1">
              <a:solidFill>
                <a:srgbClr val="E1BE63"/>
              </a:solidFill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1A0EA42-9340-4560-9AAF-7728CF211F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805659" flipH="1">
            <a:off x="10657033" y="92471"/>
            <a:ext cx="1106311" cy="2415822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3E480A9-791F-4251-AC65-D5C1A0985B1F}"/>
              </a:ext>
            </a:extLst>
          </p:cNvPr>
          <p:cNvSpPr/>
          <p:nvPr/>
        </p:nvSpPr>
        <p:spPr>
          <a:xfrm>
            <a:off x="5054044" y="666459"/>
            <a:ext cx="5982256" cy="1615144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80AD08-3416-4BDB-ABA7-235FCD426F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972" r="10972"/>
          <a:stretch/>
        </p:blipFill>
        <p:spPr>
          <a:xfrm>
            <a:off x="4168899" y="588886"/>
            <a:ext cx="1770291" cy="1770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631A2C24-9D69-4F0B-AA1A-49041A9A7089}"/>
              </a:ext>
            </a:extLst>
          </p:cNvPr>
          <p:cNvGrpSpPr/>
          <p:nvPr/>
        </p:nvGrpSpPr>
        <p:grpSpPr>
          <a:xfrm>
            <a:off x="6345579" y="1104699"/>
            <a:ext cx="4049113" cy="738664"/>
            <a:chOff x="3713278" y="4000559"/>
            <a:chExt cx="4049113" cy="738664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280B35F-E829-496A-B423-8966A3582B67}"/>
                </a:ext>
              </a:extLst>
            </p:cNvPr>
            <p:cNvSpPr txBox="1"/>
            <p:nvPr/>
          </p:nvSpPr>
          <p:spPr>
            <a:xfrm>
              <a:off x="5700771" y="4000559"/>
              <a:ext cx="2061620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amet, consectetuer adipiscing elit. Maecenas porttitor congue massa</a:t>
              </a: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6CCAF4B-9594-4C59-AAC7-D70CF73E7134}"/>
                </a:ext>
              </a:extLst>
            </p:cNvPr>
            <p:cNvSpPr txBox="1"/>
            <p:nvPr/>
          </p:nvSpPr>
          <p:spPr>
            <a:xfrm>
              <a:off x="3713278" y="4231392"/>
              <a:ext cx="1699594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d-ID" b="1">
                  <a:solidFill>
                    <a:srgbClr val="E1BE63"/>
                  </a:solidFill>
                </a:rPr>
                <a:t>JOHN</a:t>
              </a:r>
              <a:endParaRPr lang="en-US" b="1">
                <a:solidFill>
                  <a:srgbClr val="E1BE63"/>
                </a:solidFill>
              </a:endParaRPr>
            </a:p>
          </p:txBody>
        </p:sp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6D0A244-44B7-4C3D-92D5-7FF8952F2CCC}"/>
              </a:ext>
            </a:extLst>
          </p:cNvPr>
          <p:cNvSpPr/>
          <p:nvPr/>
        </p:nvSpPr>
        <p:spPr>
          <a:xfrm>
            <a:off x="5054044" y="2606067"/>
            <a:ext cx="5982256" cy="1615144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5BDD950-C7F1-486C-AD2B-D74995B413B8}"/>
              </a:ext>
            </a:extLst>
          </p:cNvPr>
          <p:cNvGrpSpPr/>
          <p:nvPr/>
        </p:nvGrpSpPr>
        <p:grpSpPr>
          <a:xfrm>
            <a:off x="6345579" y="3044307"/>
            <a:ext cx="4049113" cy="738664"/>
            <a:chOff x="3713278" y="4000559"/>
            <a:chExt cx="4049113" cy="738664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33C8B77-017D-49FF-A059-8E8CF7E219D0}"/>
                </a:ext>
              </a:extLst>
            </p:cNvPr>
            <p:cNvSpPr txBox="1"/>
            <p:nvPr/>
          </p:nvSpPr>
          <p:spPr>
            <a:xfrm>
              <a:off x="5700771" y="4000559"/>
              <a:ext cx="2061620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amet, consectetuer adipiscing elit. Maecenas porttitor congue massa</a:t>
              </a: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A74E8DF-B750-4046-8F84-90D5F5EF3CC1}"/>
                </a:ext>
              </a:extLst>
            </p:cNvPr>
            <p:cNvSpPr txBox="1"/>
            <p:nvPr/>
          </p:nvSpPr>
          <p:spPr>
            <a:xfrm>
              <a:off x="3713278" y="4231392"/>
              <a:ext cx="1632094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d-ID" b="1">
                  <a:solidFill>
                    <a:srgbClr val="E1BE63"/>
                  </a:solidFill>
                </a:rPr>
                <a:t>JANE</a:t>
              </a:r>
              <a:endParaRPr lang="en-US" b="1">
                <a:solidFill>
                  <a:srgbClr val="E1BE63"/>
                </a:solidFill>
              </a:endParaRPr>
            </a:p>
          </p:txBody>
        </p:sp>
      </p:grp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5CE0A54-A499-4BAC-A71A-A02F63C9C8AD}"/>
              </a:ext>
            </a:extLst>
          </p:cNvPr>
          <p:cNvSpPr/>
          <p:nvPr/>
        </p:nvSpPr>
        <p:spPr>
          <a:xfrm>
            <a:off x="5054044" y="4519942"/>
            <a:ext cx="5982256" cy="1615144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ED25961-6C94-4C04-8494-81A799A51C24}"/>
              </a:ext>
            </a:extLst>
          </p:cNvPr>
          <p:cNvGrpSpPr/>
          <p:nvPr/>
        </p:nvGrpSpPr>
        <p:grpSpPr>
          <a:xfrm>
            <a:off x="6345579" y="4958182"/>
            <a:ext cx="4049113" cy="738664"/>
            <a:chOff x="3713278" y="4000559"/>
            <a:chExt cx="4049113" cy="738664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2DD8DB2-0F0D-4F83-9240-6FAC901C265A}"/>
                </a:ext>
              </a:extLst>
            </p:cNvPr>
            <p:cNvSpPr txBox="1"/>
            <p:nvPr/>
          </p:nvSpPr>
          <p:spPr>
            <a:xfrm>
              <a:off x="5700771" y="4000559"/>
              <a:ext cx="2061620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amet, consectetuer adipiscing elit. Maecenas porttitor congue massa</a:t>
              </a: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32C3E16-1D45-4217-B194-08889FCC3F51}"/>
                </a:ext>
              </a:extLst>
            </p:cNvPr>
            <p:cNvSpPr txBox="1"/>
            <p:nvPr/>
          </p:nvSpPr>
          <p:spPr>
            <a:xfrm>
              <a:off x="3713278" y="4231392"/>
              <a:ext cx="1632094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d-ID" b="1">
                  <a:solidFill>
                    <a:srgbClr val="E1BE63"/>
                  </a:solidFill>
                </a:rPr>
                <a:t>JACK</a:t>
              </a:r>
              <a:endParaRPr lang="en-US" b="1">
                <a:solidFill>
                  <a:srgbClr val="E1BE63"/>
                </a:solidFill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C203D3E7-CD9E-4AE3-B76F-00639F47D755}"/>
              </a:ext>
            </a:extLst>
          </p:cNvPr>
          <p:cNvSpPr txBox="1"/>
          <p:nvPr/>
        </p:nvSpPr>
        <p:spPr>
          <a:xfrm>
            <a:off x="840196" y="2716199"/>
            <a:ext cx="2687095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6E762C4-3C41-4F63-9DE3-7D44EEB451B8}"/>
              </a:ext>
            </a:extLst>
          </p:cNvPr>
          <p:cNvGrpSpPr/>
          <p:nvPr/>
        </p:nvGrpSpPr>
        <p:grpSpPr>
          <a:xfrm>
            <a:off x="-544843" y="4658979"/>
            <a:ext cx="2934631" cy="2724702"/>
            <a:chOff x="9436937" y="3691996"/>
            <a:chExt cx="2934631" cy="2724702"/>
          </a:xfrm>
        </p:grpSpPr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FCFC1792-D1DD-4DA1-9C44-9BD24DFE1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CA886711-4A68-4340-8FBB-3CECDB284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1A27EFBA-9EB1-4AF3-8B21-F2F8F74D9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55" name="Graphic 460">
              <a:extLst>
                <a:ext uri="{FF2B5EF4-FFF2-40B4-BE49-F238E27FC236}">
                  <a16:creationId xmlns:a16="http://schemas.microsoft.com/office/drawing/2014/main" id="{7FB67A5A-B399-470A-AC1D-9EC7839D3C9B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956403DC-7451-4157-9DB3-E243C02A364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9709" r="9709"/>
          <a:stretch/>
        </p:blipFill>
        <p:spPr>
          <a:xfrm>
            <a:off x="4168899" y="2528494"/>
            <a:ext cx="1767629" cy="176762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C74C8DFA-E5B7-4FE9-A782-46B707DDE46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82" r="482"/>
          <a:stretch/>
        </p:blipFill>
        <p:spPr>
          <a:xfrm>
            <a:off x="4168899" y="4442369"/>
            <a:ext cx="1756190" cy="175619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</p:pic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30B8253-371C-456C-ADD9-28A430C6B6E0}"/>
              </a:ext>
            </a:extLst>
          </p:cNvPr>
          <p:cNvCxnSpPr>
            <a:cxnSpLocks/>
          </p:cNvCxnSpPr>
          <p:nvPr/>
        </p:nvCxnSpPr>
        <p:spPr>
          <a:xfrm>
            <a:off x="8045172" y="1003645"/>
            <a:ext cx="0" cy="940773"/>
          </a:xfrm>
          <a:prstGeom prst="line">
            <a:avLst/>
          </a:prstGeom>
          <a:ln>
            <a:solidFill>
              <a:srgbClr val="95B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E4EBFA1-D946-48C5-B412-D0FFF5FEE694}"/>
              </a:ext>
            </a:extLst>
          </p:cNvPr>
          <p:cNvCxnSpPr>
            <a:cxnSpLocks/>
          </p:cNvCxnSpPr>
          <p:nvPr/>
        </p:nvCxnSpPr>
        <p:spPr>
          <a:xfrm>
            <a:off x="8045172" y="2958613"/>
            <a:ext cx="0" cy="940773"/>
          </a:xfrm>
          <a:prstGeom prst="line">
            <a:avLst/>
          </a:prstGeom>
          <a:ln>
            <a:solidFill>
              <a:srgbClr val="95B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4CE5F72-7BE8-4320-AFBF-ABCFD17D6DF2}"/>
              </a:ext>
            </a:extLst>
          </p:cNvPr>
          <p:cNvCxnSpPr>
            <a:cxnSpLocks/>
          </p:cNvCxnSpPr>
          <p:nvPr/>
        </p:nvCxnSpPr>
        <p:spPr>
          <a:xfrm>
            <a:off x="8045172" y="4864798"/>
            <a:ext cx="0" cy="940773"/>
          </a:xfrm>
          <a:prstGeom prst="line">
            <a:avLst/>
          </a:prstGeom>
          <a:ln>
            <a:solidFill>
              <a:srgbClr val="95B2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F10D019-1600-4C76-B812-8F0D1D0813A4}"/>
              </a:ext>
            </a:extLst>
          </p:cNvPr>
          <p:cNvCxnSpPr>
            <a:cxnSpLocks/>
          </p:cNvCxnSpPr>
          <p:nvPr/>
        </p:nvCxnSpPr>
        <p:spPr>
          <a:xfrm>
            <a:off x="840196" y="1104699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5174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plant&#10;&#10;Description automatically generated">
            <a:extLst>
              <a:ext uri="{FF2B5EF4-FFF2-40B4-BE49-F238E27FC236}">
                <a16:creationId xmlns:a16="http://schemas.microsoft.com/office/drawing/2014/main" id="{DAD8CD1B-33D8-4419-8370-68FD78BD682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E62FE0E-AFCC-46A2-A90D-8F7193261828}"/>
              </a:ext>
            </a:extLst>
          </p:cNvPr>
          <p:cNvSpPr/>
          <p:nvPr/>
        </p:nvSpPr>
        <p:spPr>
          <a:xfrm>
            <a:off x="0" y="-1"/>
            <a:ext cx="12192000" cy="6186272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BA0965D-04A6-44F2-AC42-BDDA0CF2F3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9794341">
            <a:off x="8532185" y="-2323965"/>
            <a:ext cx="1106311" cy="241582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7EE2937-6B52-41A5-BE62-B2D21B5478A9}"/>
              </a:ext>
            </a:extLst>
          </p:cNvPr>
          <p:cNvSpPr txBox="1"/>
          <p:nvPr/>
        </p:nvSpPr>
        <p:spPr>
          <a:xfrm>
            <a:off x="5535086" y="671729"/>
            <a:ext cx="47224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800" b="1">
                <a:solidFill>
                  <a:schemeClr val="bg1"/>
                </a:solidFill>
              </a:rPr>
              <a:t>WHY </a:t>
            </a:r>
            <a:r>
              <a:rPr lang="id-ID" sz="4800" b="1">
                <a:solidFill>
                  <a:srgbClr val="E1BE63"/>
                </a:solidFill>
              </a:rPr>
              <a:t>US?</a:t>
            </a:r>
            <a:endParaRPr lang="en-US" sz="4800" b="1">
              <a:solidFill>
                <a:srgbClr val="E1BE63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174154-F6F8-459C-8D65-A07475B59702}"/>
              </a:ext>
            </a:extLst>
          </p:cNvPr>
          <p:cNvSpPr txBox="1"/>
          <p:nvPr/>
        </p:nvSpPr>
        <p:spPr>
          <a:xfrm>
            <a:off x="5569570" y="2266708"/>
            <a:ext cx="281878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200" dirty="0" err="1">
                <a:solidFill>
                  <a:schemeClr val="bg1"/>
                </a:solidFill>
              </a:rPr>
              <a:t>urna</a:t>
            </a:r>
            <a:r>
              <a:rPr lang="en-US" sz="1200" dirty="0">
                <a:solidFill>
                  <a:schemeClr val="bg1"/>
                </a:solidFill>
              </a:rPr>
              <a:t>.</a:t>
            </a:r>
            <a:r>
              <a:rPr lang="id-ID" sz="12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</a:rPr>
              <a:t>amet</a:t>
            </a:r>
            <a:r>
              <a:rPr lang="en-US" sz="1200" dirty="0">
                <a:solidFill>
                  <a:schemeClr val="bg1"/>
                </a:solidFill>
              </a:rPr>
              <a:t>, </a:t>
            </a:r>
            <a:r>
              <a:rPr lang="en-US" sz="1200" dirty="0" err="1">
                <a:solidFill>
                  <a:schemeClr val="bg1"/>
                </a:solidFill>
              </a:rPr>
              <a:t>consectetue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dipiscing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elit</a:t>
            </a:r>
            <a:r>
              <a:rPr lang="en-US" sz="12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0C42D1-9CAB-4B5A-9358-F35F87B21F4E}"/>
              </a:ext>
            </a:extLst>
          </p:cNvPr>
          <p:cNvSpPr txBox="1"/>
          <p:nvPr/>
        </p:nvSpPr>
        <p:spPr>
          <a:xfrm>
            <a:off x="5569568" y="1706845"/>
            <a:ext cx="35874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>
                <a:solidFill>
                  <a:schemeClr val="bg1"/>
                </a:solidFill>
              </a:rPr>
              <a:t>Lorem Ipsum Dolor Sit Amet. </a:t>
            </a:r>
            <a:endParaRPr lang="en-US" b="1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228AD11-43AA-4E33-84DD-9F77AE02776B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564A70D-9363-494F-B2B4-EA11EDAD98A9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ACF3565-B418-4FDA-A614-19E261F7B7FD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77C148A-C32A-4DE8-926F-BA12B1C51CB3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: Single Corner Rounded 7">
            <a:extLst>
              <a:ext uri="{FF2B5EF4-FFF2-40B4-BE49-F238E27FC236}">
                <a16:creationId xmlns:a16="http://schemas.microsoft.com/office/drawing/2014/main" id="{71B5A000-D796-4B8C-B47F-651DA1E0C1D3}"/>
              </a:ext>
            </a:extLst>
          </p:cNvPr>
          <p:cNvSpPr/>
          <p:nvPr/>
        </p:nvSpPr>
        <p:spPr>
          <a:xfrm>
            <a:off x="2184400" y="4357143"/>
            <a:ext cx="9361712" cy="2500857"/>
          </a:xfrm>
          <a:prstGeom prst="round1Rect">
            <a:avLst>
              <a:gd name="adj" fmla="val 18468"/>
            </a:avLst>
          </a:prstGeom>
          <a:solidFill>
            <a:srgbClr val="E1BE63"/>
          </a:soli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EF6D370-019B-4079-855C-4A910F0F22B5}"/>
              </a:ext>
            </a:extLst>
          </p:cNvPr>
          <p:cNvSpPr txBox="1"/>
          <p:nvPr/>
        </p:nvSpPr>
        <p:spPr>
          <a:xfrm>
            <a:off x="8760218" y="2266708"/>
            <a:ext cx="281878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200">
                <a:solidFill>
                  <a:schemeClr val="bg1"/>
                </a:solidFill>
              </a:rPr>
              <a:t>urna.</a:t>
            </a:r>
            <a:r>
              <a:rPr lang="id-ID" sz="1200">
                <a:solidFill>
                  <a:schemeClr val="bg1"/>
                </a:solidFill>
              </a:rPr>
              <a:t> </a:t>
            </a:r>
            <a:r>
              <a:rPr lang="en-US" sz="1200">
                <a:solidFill>
                  <a:schemeClr val="bg1"/>
                </a:solidFill>
              </a:rPr>
              <a:t>Lorem ipsum dolor sit amet, consectetuer adipiscing elit. 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99D2FA-193C-4E7A-B9C5-CE7E484619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343466">
            <a:off x="-2082798" y="4723731"/>
            <a:ext cx="5965371" cy="2844799"/>
          </a:xfrm>
          <a:prstGeom prst="rect">
            <a:avLst/>
          </a:prstGeom>
        </p:spPr>
      </p:pic>
      <p:pic>
        <p:nvPicPr>
          <p:cNvPr id="11" name="Picture 10" descr="A view of a mountain&#10;&#10;Description automatically generated">
            <a:extLst>
              <a:ext uri="{FF2B5EF4-FFF2-40B4-BE49-F238E27FC236}">
                <a16:creationId xmlns:a16="http://schemas.microsoft.com/office/drawing/2014/main" id="{1E8AF9E4-A97B-41EB-AE46-B302EA07036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96" r="23113"/>
          <a:stretch/>
        </p:blipFill>
        <p:spPr>
          <a:xfrm>
            <a:off x="528737" y="469617"/>
            <a:ext cx="4512094" cy="5983657"/>
          </a:xfrm>
          <a:prstGeom prst="roundRect">
            <a:avLst>
              <a:gd name="adj" fmla="val 11579"/>
            </a:avLst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E18FF1EE-6B8D-43B6-8289-AFA874EAC10E}"/>
              </a:ext>
            </a:extLst>
          </p:cNvPr>
          <p:cNvGrpSpPr/>
          <p:nvPr/>
        </p:nvGrpSpPr>
        <p:grpSpPr>
          <a:xfrm>
            <a:off x="10084397" y="4773713"/>
            <a:ext cx="2520906" cy="2340573"/>
            <a:chOff x="9436937" y="3691996"/>
            <a:chExt cx="2934631" cy="2724702"/>
          </a:xfrm>
        </p:grpSpPr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94308AB-E02B-48DA-A217-75761F4BF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4230E351-F673-4A4E-8579-49D957D92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6AFA95FF-72DF-4BFC-AE34-A6CCDB6C1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42" name="Graphic 460">
              <a:extLst>
                <a:ext uri="{FF2B5EF4-FFF2-40B4-BE49-F238E27FC236}">
                  <a16:creationId xmlns:a16="http://schemas.microsoft.com/office/drawing/2014/main" id="{7F421E7D-42E9-4966-A1BD-68301DCDC470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B85E2328-86F9-4BEC-A7D9-1144D870A603}"/>
              </a:ext>
            </a:extLst>
          </p:cNvPr>
          <p:cNvSpPr txBox="1"/>
          <p:nvPr/>
        </p:nvSpPr>
        <p:spPr>
          <a:xfrm>
            <a:off x="5569568" y="5246329"/>
            <a:ext cx="434046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b="1" dirty="0">
                <a:solidFill>
                  <a:schemeClr val="bg1"/>
                </a:solidFill>
              </a:rPr>
              <a:t>Lorem ipsum dolor sit amet, consectetuer adipiscing elit. Maecenas porttitor congue massa.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B874F11-3B5D-4508-B0B3-9407AECAB865}"/>
              </a:ext>
            </a:extLst>
          </p:cNvPr>
          <p:cNvSpPr/>
          <p:nvPr/>
        </p:nvSpPr>
        <p:spPr>
          <a:xfrm>
            <a:off x="5563856" y="4002032"/>
            <a:ext cx="974104" cy="974104"/>
          </a:xfrm>
          <a:prstGeom prst="roundRect">
            <a:avLst>
              <a:gd name="adj" fmla="val 10785"/>
            </a:avLst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Graphic 44" descr="Forest scene">
            <a:extLst>
              <a:ext uri="{FF2B5EF4-FFF2-40B4-BE49-F238E27FC236}">
                <a16:creationId xmlns:a16="http://schemas.microsoft.com/office/drawing/2014/main" id="{1F82FEB0-AA0A-4612-B050-3C78D15F67D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38634" y="4176810"/>
            <a:ext cx="624548" cy="624548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A57F352-2BD2-4741-A6FC-458BDE2723EB}"/>
              </a:ext>
            </a:extLst>
          </p:cNvPr>
          <p:cNvCxnSpPr>
            <a:cxnSpLocks/>
          </p:cNvCxnSpPr>
          <p:nvPr/>
        </p:nvCxnSpPr>
        <p:spPr>
          <a:xfrm>
            <a:off x="419417" y="1041061"/>
            <a:ext cx="480470" cy="0"/>
          </a:xfrm>
          <a:prstGeom prst="line">
            <a:avLst/>
          </a:prstGeom>
          <a:ln w="50800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723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plant&#10;&#10;Description automatically generated">
            <a:extLst>
              <a:ext uri="{FF2B5EF4-FFF2-40B4-BE49-F238E27FC236}">
                <a16:creationId xmlns:a16="http://schemas.microsoft.com/office/drawing/2014/main" id="{3539E65F-EDFB-4CE2-8B40-86E9E20669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-1"/>
            <a:ext cx="12191996" cy="68580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165DCA5-8664-43DB-A28A-DF488862131D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Freeform 160">
            <a:extLst>
              <a:ext uri="{FF2B5EF4-FFF2-40B4-BE49-F238E27FC236}">
                <a16:creationId xmlns:a16="http://schemas.microsoft.com/office/drawing/2014/main" id="{EC081FB1-CFAA-4068-9D99-AE05AAEF50CB}"/>
              </a:ext>
            </a:extLst>
          </p:cNvPr>
          <p:cNvSpPr/>
          <p:nvPr/>
        </p:nvSpPr>
        <p:spPr>
          <a:xfrm rot="18900000" flipH="1">
            <a:off x="8443791" y="2645895"/>
            <a:ext cx="6092370" cy="4082444"/>
          </a:xfrm>
          <a:custGeom>
            <a:avLst/>
            <a:gdLst>
              <a:gd name="connsiteX0" fmla="*/ 0 w 6092370"/>
              <a:gd name="connsiteY0" fmla="*/ 7388 h 4082444"/>
              <a:gd name="connsiteX1" fmla="*/ 73286 w 6092370"/>
              <a:gd name="connsiteY1" fmla="*/ 0 h 4082444"/>
              <a:gd name="connsiteX2" fmla="*/ 5681261 w 6092370"/>
              <a:gd name="connsiteY2" fmla="*/ 0 h 4082444"/>
              <a:gd name="connsiteX3" fmla="*/ 6092370 w 6092370"/>
              <a:gd name="connsiteY3" fmla="*/ 411109 h 4082444"/>
              <a:gd name="connsiteX4" fmla="*/ 6092370 w 6092370"/>
              <a:gd name="connsiteY4" fmla="*/ 2065129 h 4082444"/>
              <a:gd name="connsiteX5" fmla="*/ 4075056 w 6092370"/>
              <a:gd name="connsiteY5" fmla="*/ 4082444 h 408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2370" h="4082444">
                <a:moveTo>
                  <a:pt x="0" y="7388"/>
                </a:moveTo>
                <a:lnTo>
                  <a:pt x="73286" y="0"/>
                </a:lnTo>
                <a:lnTo>
                  <a:pt x="5681261" y="0"/>
                </a:lnTo>
                <a:cubicBezTo>
                  <a:pt x="5908310" y="0"/>
                  <a:pt x="6092370" y="184060"/>
                  <a:pt x="6092370" y="411109"/>
                </a:cubicBezTo>
                <a:lnTo>
                  <a:pt x="6092370" y="2065129"/>
                </a:lnTo>
                <a:lnTo>
                  <a:pt x="4075056" y="4082444"/>
                </a:lnTo>
                <a:close/>
              </a:path>
            </a:pathLst>
          </a:custGeom>
          <a:gradFill>
            <a:gsLst>
              <a:gs pos="0">
                <a:srgbClr val="30574C"/>
              </a:gs>
              <a:gs pos="100000">
                <a:srgbClr val="2A3E33"/>
              </a:gs>
            </a:gsLst>
            <a:lin ang="3600000" scaled="0"/>
          </a:gra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raphic 460">
            <a:extLst>
              <a:ext uri="{FF2B5EF4-FFF2-40B4-BE49-F238E27FC236}">
                <a16:creationId xmlns:a16="http://schemas.microsoft.com/office/drawing/2014/main" id="{435A808E-B9F2-4067-A509-F53B791B4FCE}"/>
              </a:ext>
            </a:extLst>
          </p:cNvPr>
          <p:cNvSpPr/>
          <p:nvPr/>
        </p:nvSpPr>
        <p:spPr>
          <a:xfrm flipH="1">
            <a:off x="11100626" y="306946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1B80A6D-5C80-4323-B8BF-0E27AC76A2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1309592" flipH="1">
            <a:off x="10361748" y="4561292"/>
            <a:ext cx="1173145" cy="251094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209DA1B-A3F4-4C73-BF88-D26D98190A65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D96093E-A8E7-4139-A898-012944BAB667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1078EB0-05EB-49DF-AF89-72BD6D6A1204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69FA4A5-8E08-41C5-A7AB-9342A0DE0666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6E98C2C5-6947-4F28-A2B4-7F1B16B3B3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58625" y="3663620"/>
            <a:ext cx="1525277" cy="331582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C82E252-F5FE-418C-AF0B-C3ED95B0AF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27911" y="5407708"/>
            <a:ext cx="772715" cy="1534546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37E16DBE-777F-44A0-BF80-50096DFF7E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23257" y="5008243"/>
            <a:ext cx="1954192" cy="2018264"/>
          </a:xfrm>
          <a:prstGeom prst="rect">
            <a:avLst/>
          </a:prstGeom>
        </p:spPr>
      </p:pic>
      <p:sp>
        <p:nvSpPr>
          <p:cNvPr id="22" name="Graphic 460">
            <a:extLst>
              <a:ext uri="{FF2B5EF4-FFF2-40B4-BE49-F238E27FC236}">
                <a16:creationId xmlns:a16="http://schemas.microsoft.com/office/drawing/2014/main" id="{58DDCE9E-B683-4421-A798-56FF1FD6FDB5}"/>
              </a:ext>
            </a:extLst>
          </p:cNvPr>
          <p:cNvSpPr/>
          <p:nvPr/>
        </p:nvSpPr>
        <p:spPr>
          <a:xfrm>
            <a:off x="9318422" y="399808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D7F19609-F351-44BB-8769-D3BE8E3049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55280" y="4607019"/>
            <a:ext cx="1721844" cy="2419488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9101135A-9FFB-440A-AE46-5BBE41C8FB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606986">
            <a:off x="9000803" y="5654501"/>
            <a:ext cx="1343576" cy="1387628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89B9D86-2A35-483B-B846-58CA434F0320}"/>
              </a:ext>
            </a:extLst>
          </p:cNvPr>
          <p:cNvCxnSpPr>
            <a:cxnSpLocks/>
          </p:cNvCxnSpPr>
          <p:nvPr/>
        </p:nvCxnSpPr>
        <p:spPr>
          <a:xfrm>
            <a:off x="1134499" y="1421201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24BB00D-79DE-45F0-8475-51730DBBE4A7}"/>
              </a:ext>
            </a:extLst>
          </p:cNvPr>
          <p:cNvSpPr txBox="1"/>
          <p:nvPr/>
        </p:nvSpPr>
        <p:spPr>
          <a:xfrm>
            <a:off x="1134499" y="1788031"/>
            <a:ext cx="4722494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rgbClr val="E1BE63"/>
                </a:solidFill>
              </a:rPr>
              <a:t>GOAL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br>
              <a:rPr lang="en-US" sz="4000" b="1" dirty="0">
                <a:solidFill>
                  <a:schemeClr val="bg1"/>
                </a:solidFill>
              </a:rPr>
            </a:br>
            <a:r>
              <a:rPr lang="en-US" sz="4400" b="1" dirty="0">
                <a:solidFill>
                  <a:schemeClr val="bg1"/>
                </a:solidFill>
              </a:rPr>
              <a:t>AND OBJECTIVES</a:t>
            </a:r>
            <a:endParaRPr lang="en-US" sz="4000" b="1" dirty="0">
              <a:solidFill>
                <a:srgbClr val="E1BE63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68276E2-882A-4383-80EA-76B3CDD63D43}"/>
              </a:ext>
            </a:extLst>
          </p:cNvPr>
          <p:cNvSpPr txBox="1"/>
          <p:nvPr/>
        </p:nvSpPr>
        <p:spPr>
          <a:xfrm>
            <a:off x="1134499" y="4515722"/>
            <a:ext cx="372960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sz="1400" dirty="0" err="1">
                <a:solidFill>
                  <a:schemeClr val="bg1"/>
                </a:solidFill>
              </a:rPr>
              <a:t>urna</a:t>
            </a:r>
            <a:r>
              <a:rPr lang="en-US" sz="1400" dirty="0">
                <a:solidFill>
                  <a:schemeClr val="bg1"/>
                </a:solidFill>
              </a:rPr>
              <a:t>.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8DA6A80-3F9D-4775-8869-BDBE2A2F6476}"/>
              </a:ext>
            </a:extLst>
          </p:cNvPr>
          <p:cNvGrpSpPr/>
          <p:nvPr/>
        </p:nvGrpSpPr>
        <p:grpSpPr>
          <a:xfrm>
            <a:off x="6414265" y="874037"/>
            <a:ext cx="3907918" cy="5109927"/>
            <a:chOff x="6686340" y="698457"/>
            <a:chExt cx="3907918" cy="5109927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216A0A0-DF60-4130-B413-FC5C3882F9D7}"/>
                </a:ext>
              </a:extLst>
            </p:cNvPr>
            <p:cNvGrpSpPr/>
            <p:nvPr/>
          </p:nvGrpSpPr>
          <p:grpSpPr>
            <a:xfrm>
              <a:off x="6686340" y="3405654"/>
              <a:ext cx="3907918" cy="2402730"/>
              <a:chOff x="5976991" y="3349091"/>
              <a:chExt cx="3907918" cy="2402730"/>
            </a:xfrm>
          </p:grpSpPr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AF7CCDD1-478E-4D0C-8C35-2BAA6BD9D290}"/>
                  </a:ext>
                </a:extLst>
              </p:cNvPr>
              <p:cNvSpPr/>
              <p:nvPr/>
            </p:nvSpPr>
            <p:spPr>
              <a:xfrm>
                <a:off x="5976991" y="3681754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rgbClr val="E1BE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EDED1F79-0879-487B-AF55-71A1BE32D254}"/>
                  </a:ext>
                </a:extLst>
              </p:cNvPr>
              <p:cNvSpPr/>
              <p:nvPr/>
            </p:nvSpPr>
            <p:spPr>
              <a:xfrm>
                <a:off x="6259308" y="3349091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588AB387-775D-4AC2-A2AB-8C310251410E}"/>
                  </a:ext>
                </a:extLst>
              </p:cNvPr>
              <p:cNvGrpSpPr/>
              <p:nvPr/>
            </p:nvGrpSpPr>
            <p:grpSpPr>
              <a:xfrm>
                <a:off x="6258447" y="4294451"/>
                <a:ext cx="3314119" cy="1160109"/>
                <a:chOff x="1694985" y="4094325"/>
                <a:chExt cx="3314119" cy="1160109"/>
              </a:xfrm>
            </p:grpSpPr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D7BF94E0-75FB-41C5-85D1-DC2E14AEFEFA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73866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1"/>
                      </a:solidFill>
                    </a:rPr>
                    <a:t>Lorem ipsum dolor sit amet, consectetuer adipiscing elit. Maecenas porttitor congue massa. Fusce posuere, magna sed pulvinar ultricies, purus lectus malesuada libero, </a:t>
                  </a: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F2DC1DAA-8079-45BD-98C1-EFA620154CC1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id-ID" b="1" dirty="0">
                      <a:solidFill>
                        <a:schemeClr val="bg1"/>
                      </a:solidFill>
                    </a:rPr>
                    <a:t>Lorem ipsum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9D319F92-0AA2-4743-853D-23E45F8692E1}"/>
                  </a:ext>
                </a:extLst>
              </p:cNvPr>
              <p:cNvGrpSpPr/>
              <p:nvPr/>
            </p:nvGrpSpPr>
            <p:grpSpPr>
              <a:xfrm>
                <a:off x="6431316" y="3492286"/>
                <a:ext cx="321310" cy="378937"/>
                <a:chOff x="8464550" y="1825625"/>
                <a:chExt cx="292100" cy="344488"/>
              </a:xfrm>
            </p:grpSpPr>
            <p:sp>
              <p:nvSpPr>
                <p:cNvPr id="46" name="Freeform 118">
                  <a:extLst>
                    <a:ext uri="{FF2B5EF4-FFF2-40B4-BE49-F238E27FC236}">
                      <a16:creationId xmlns:a16="http://schemas.microsoft.com/office/drawing/2014/main" id="{939D3B01-9D61-45E3-AAF3-ED947B9721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55038" y="2065338"/>
                  <a:ext cx="149225" cy="104775"/>
                </a:xfrm>
                <a:custGeom>
                  <a:avLst/>
                  <a:gdLst>
                    <a:gd name="T0" fmla="*/ 496 w 661"/>
                    <a:gd name="T1" fmla="*/ 462 h 462"/>
                    <a:gd name="T2" fmla="*/ 165 w 661"/>
                    <a:gd name="T3" fmla="*/ 462 h 462"/>
                    <a:gd name="T4" fmla="*/ 165 w 661"/>
                    <a:gd name="T5" fmla="*/ 462 h 462"/>
                    <a:gd name="T6" fmla="*/ 160 w 661"/>
                    <a:gd name="T7" fmla="*/ 461 h 462"/>
                    <a:gd name="T8" fmla="*/ 154 w 661"/>
                    <a:gd name="T9" fmla="*/ 460 h 462"/>
                    <a:gd name="T10" fmla="*/ 150 w 661"/>
                    <a:gd name="T11" fmla="*/ 458 h 462"/>
                    <a:gd name="T12" fmla="*/ 145 w 661"/>
                    <a:gd name="T13" fmla="*/ 456 h 462"/>
                    <a:gd name="T14" fmla="*/ 142 w 661"/>
                    <a:gd name="T15" fmla="*/ 453 h 462"/>
                    <a:gd name="T16" fmla="*/ 138 w 661"/>
                    <a:gd name="T17" fmla="*/ 449 h 462"/>
                    <a:gd name="T18" fmla="*/ 136 w 661"/>
                    <a:gd name="T19" fmla="*/ 445 h 462"/>
                    <a:gd name="T20" fmla="*/ 134 w 661"/>
                    <a:gd name="T21" fmla="*/ 439 h 462"/>
                    <a:gd name="T22" fmla="*/ 1 w 661"/>
                    <a:gd name="T23" fmla="*/ 43 h 462"/>
                    <a:gd name="T24" fmla="*/ 1 w 661"/>
                    <a:gd name="T25" fmla="*/ 43 h 462"/>
                    <a:gd name="T26" fmla="*/ 0 w 661"/>
                    <a:gd name="T27" fmla="*/ 35 h 462"/>
                    <a:gd name="T28" fmla="*/ 0 w 661"/>
                    <a:gd name="T29" fmla="*/ 28 h 462"/>
                    <a:gd name="T30" fmla="*/ 2 w 661"/>
                    <a:gd name="T31" fmla="*/ 19 h 462"/>
                    <a:gd name="T32" fmla="*/ 5 w 661"/>
                    <a:gd name="T33" fmla="*/ 13 h 462"/>
                    <a:gd name="T34" fmla="*/ 5 w 661"/>
                    <a:gd name="T35" fmla="*/ 13 h 462"/>
                    <a:gd name="T36" fmla="*/ 12 w 661"/>
                    <a:gd name="T37" fmla="*/ 7 h 462"/>
                    <a:gd name="T38" fmla="*/ 18 w 661"/>
                    <a:gd name="T39" fmla="*/ 3 h 462"/>
                    <a:gd name="T40" fmla="*/ 25 w 661"/>
                    <a:gd name="T41" fmla="*/ 0 h 462"/>
                    <a:gd name="T42" fmla="*/ 32 w 661"/>
                    <a:gd name="T43" fmla="*/ 0 h 462"/>
                    <a:gd name="T44" fmla="*/ 627 w 661"/>
                    <a:gd name="T45" fmla="*/ 0 h 462"/>
                    <a:gd name="T46" fmla="*/ 627 w 661"/>
                    <a:gd name="T47" fmla="*/ 0 h 462"/>
                    <a:gd name="T48" fmla="*/ 636 w 661"/>
                    <a:gd name="T49" fmla="*/ 0 h 462"/>
                    <a:gd name="T50" fmla="*/ 643 w 661"/>
                    <a:gd name="T51" fmla="*/ 3 h 462"/>
                    <a:gd name="T52" fmla="*/ 649 w 661"/>
                    <a:gd name="T53" fmla="*/ 7 h 462"/>
                    <a:gd name="T54" fmla="*/ 654 w 661"/>
                    <a:gd name="T55" fmla="*/ 13 h 462"/>
                    <a:gd name="T56" fmla="*/ 654 w 661"/>
                    <a:gd name="T57" fmla="*/ 13 h 462"/>
                    <a:gd name="T58" fmla="*/ 658 w 661"/>
                    <a:gd name="T59" fmla="*/ 19 h 462"/>
                    <a:gd name="T60" fmla="*/ 661 w 661"/>
                    <a:gd name="T61" fmla="*/ 28 h 462"/>
                    <a:gd name="T62" fmla="*/ 661 w 661"/>
                    <a:gd name="T63" fmla="*/ 35 h 462"/>
                    <a:gd name="T64" fmla="*/ 660 w 661"/>
                    <a:gd name="T65" fmla="*/ 43 h 462"/>
                    <a:gd name="T66" fmla="*/ 527 w 661"/>
                    <a:gd name="T67" fmla="*/ 439 h 462"/>
                    <a:gd name="T68" fmla="*/ 527 w 661"/>
                    <a:gd name="T69" fmla="*/ 439 h 462"/>
                    <a:gd name="T70" fmla="*/ 525 w 661"/>
                    <a:gd name="T71" fmla="*/ 445 h 462"/>
                    <a:gd name="T72" fmla="*/ 522 w 661"/>
                    <a:gd name="T73" fmla="*/ 449 h 462"/>
                    <a:gd name="T74" fmla="*/ 519 w 661"/>
                    <a:gd name="T75" fmla="*/ 453 h 462"/>
                    <a:gd name="T76" fmla="*/ 515 w 661"/>
                    <a:gd name="T77" fmla="*/ 456 h 462"/>
                    <a:gd name="T78" fmla="*/ 510 w 661"/>
                    <a:gd name="T79" fmla="*/ 458 h 462"/>
                    <a:gd name="T80" fmla="*/ 506 w 661"/>
                    <a:gd name="T81" fmla="*/ 460 h 462"/>
                    <a:gd name="T82" fmla="*/ 501 w 661"/>
                    <a:gd name="T83" fmla="*/ 461 h 462"/>
                    <a:gd name="T84" fmla="*/ 496 w 661"/>
                    <a:gd name="T85" fmla="*/ 462 h 462"/>
                    <a:gd name="T86" fmla="*/ 496 w 661"/>
                    <a:gd name="T87" fmla="*/ 462 h 462"/>
                    <a:gd name="T88" fmla="*/ 189 w 661"/>
                    <a:gd name="T89" fmla="*/ 396 h 462"/>
                    <a:gd name="T90" fmla="*/ 472 w 661"/>
                    <a:gd name="T91" fmla="*/ 396 h 462"/>
                    <a:gd name="T92" fmla="*/ 582 w 661"/>
                    <a:gd name="T93" fmla="*/ 65 h 462"/>
                    <a:gd name="T94" fmla="*/ 79 w 661"/>
                    <a:gd name="T95" fmla="*/ 65 h 462"/>
                    <a:gd name="T96" fmla="*/ 189 w 661"/>
                    <a:gd name="T97" fmla="*/ 396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61" h="462">
                      <a:moveTo>
                        <a:pt x="496" y="462"/>
                      </a:moveTo>
                      <a:lnTo>
                        <a:pt x="165" y="462"/>
                      </a:lnTo>
                      <a:lnTo>
                        <a:pt x="165" y="462"/>
                      </a:lnTo>
                      <a:lnTo>
                        <a:pt x="160" y="461"/>
                      </a:lnTo>
                      <a:lnTo>
                        <a:pt x="154" y="460"/>
                      </a:lnTo>
                      <a:lnTo>
                        <a:pt x="150" y="458"/>
                      </a:lnTo>
                      <a:lnTo>
                        <a:pt x="145" y="456"/>
                      </a:lnTo>
                      <a:lnTo>
                        <a:pt x="142" y="453"/>
                      </a:lnTo>
                      <a:lnTo>
                        <a:pt x="138" y="449"/>
                      </a:lnTo>
                      <a:lnTo>
                        <a:pt x="136" y="445"/>
                      </a:lnTo>
                      <a:lnTo>
                        <a:pt x="134" y="439"/>
                      </a:lnTo>
                      <a:lnTo>
                        <a:pt x="1" y="43"/>
                      </a:lnTo>
                      <a:lnTo>
                        <a:pt x="1" y="43"/>
                      </a:lnTo>
                      <a:lnTo>
                        <a:pt x="0" y="35"/>
                      </a:lnTo>
                      <a:lnTo>
                        <a:pt x="0" y="28"/>
                      </a:lnTo>
                      <a:lnTo>
                        <a:pt x="2" y="19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12" y="7"/>
                      </a:lnTo>
                      <a:lnTo>
                        <a:pt x="18" y="3"/>
                      </a:lnTo>
                      <a:lnTo>
                        <a:pt x="25" y="0"/>
                      </a:lnTo>
                      <a:lnTo>
                        <a:pt x="32" y="0"/>
                      </a:lnTo>
                      <a:lnTo>
                        <a:pt x="627" y="0"/>
                      </a:lnTo>
                      <a:lnTo>
                        <a:pt x="627" y="0"/>
                      </a:lnTo>
                      <a:lnTo>
                        <a:pt x="636" y="0"/>
                      </a:lnTo>
                      <a:lnTo>
                        <a:pt x="643" y="3"/>
                      </a:lnTo>
                      <a:lnTo>
                        <a:pt x="649" y="7"/>
                      </a:lnTo>
                      <a:lnTo>
                        <a:pt x="654" y="13"/>
                      </a:lnTo>
                      <a:lnTo>
                        <a:pt x="654" y="13"/>
                      </a:lnTo>
                      <a:lnTo>
                        <a:pt x="658" y="19"/>
                      </a:lnTo>
                      <a:lnTo>
                        <a:pt x="661" y="28"/>
                      </a:lnTo>
                      <a:lnTo>
                        <a:pt x="661" y="35"/>
                      </a:lnTo>
                      <a:lnTo>
                        <a:pt x="660" y="43"/>
                      </a:lnTo>
                      <a:lnTo>
                        <a:pt x="527" y="439"/>
                      </a:lnTo>
                      <a:lnTo>
                        <a:pt x="527" y="439"/>
                      </a:lnTo>
                      <a:lnTo>
                        <a:pt x="525" y="445"/>
                      </a:lnTo>
                      <a:lnTo>
                        <a:pt x="522" y="449"/>
                      </a:lnTo>
                      <a:lnTo>
                        <a:pt x="519" y="453"/>
                      </a:lnTo>
                      <a:lnTo>
                        <a:pt x="515" y="456"/>
                      </a:lnTo>
                      <a:lnTo>
                        <a:pt x="510" y="458"/>
                      </a:lnTo>
                      <a:lnTo>
                        <a:pt x="506" y="460"/>
                      </a:lnTo>
                      <a:lnTo>
                        <a:pt x="501" y="461"/>
                      </a:lnTo>
                      <a:lnTo>
                        <a:pt x="496" y="462"/>
                      </a:lnTo>
                      <a:lnTo>
                        <a:pt x="496" y="462"/>
                      </a:lnTo>
                      <a:close/>
                      <a:moveTo>
                        <a:pt x="189" y="396"/>
                      </a:moveTo>
                      <a:lnTo>
                        <a:pt x="472" y="396"/>
                      </a:lnTo>
                      <a:lnTo>
                        <a:pt x="582" y="65"/>
                      </a:lnTo>
                      <a:lnTo>
                        <a:pt x="79" y="65"/>
                      </a:lnTo>
                      <a:lnTo>
                        <a:pt x="189" y="39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Freeform 119">
                  <a:extLst>
                    <a:ext uri="{FF2B5EF4-FFF2-40B4-BE49-F238E27FC236}">
                      <a16:creationId xmlns:a16="http://schemas.microsoft.com/office/drawing/2014/main" id="{000A605D-9F2A-4876-B7FC-5B467D21E6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32825" y="1909763"/>
                  <a:ext cx="123825" cy="139700"/>
                </a:xfrm>
                <a:custGeom>
                  <a:avLst/>
                  <a:gdLst>
                    <a:gd name="T0" fmla="*/ 237 w 546"/>
                    <a:gd name="T1" fmla="*/ 608 h 610"/>
                    <a:gd name="T2" fmla="*/ 193 w 546"/>
                    <a:gd name="T3" fmla="*/ 593 h 610"/>
                    <a:gd name="T4" fmla="*/ 155 w 546"/>
                    <a:gd name="T5" fmla="*/ 565 h 610"/>
                    <a:gd name="T6" fmla="*/ 118 w 546"/>
                    <a:gd name="T7" fmla="*/ 519 h 610"/>
                    <a:gd name="T8" fmla="*/ 93 w 546"/>
                    <a:gd name="T9" fmla="*/ 471 h 610"/>
                    <a:gd name="T10" fmla="*/ 46 w 546"/>
                    <a:gd name="T11" fmla="*/ 429 h 610"/>
                    <a:gd name="T12" fmla="*/ 17 w 546"/>
                    <a:gd name="T13" fmla="*/ 388 h 610"/>
                    <a:gd name="T14" fmla="*/ 4 w 546"/>
                    <a:gd name="T15" fmla="*/ 351 h 610"/>
                    <a:gd name="T16" fmla="*/ 1 w 546"/>
                    <a:gd name="T17" fmla="*/ 307 h 610"/>
                    <a:gd name="T18" fmla="*/ 10 w 546"/>
                    <a:gd name="T19" fmla="*/ 263 h 610"/>
                    <a:gd name="T20" fmla="*/ 34 w 546"/>
                    <a:gd name="T21" fmla="*/ 220 h 610"/>
                    <a:gd name="T22" fmla="*/ 68 w 546"/>
                    <a:gd name="T23" fmla="*/ 182 h 610"/>
                    <a:gd name="T24" fmla="*/ 101 w 546"/>
                    <a:gd name="T25" fmla="*/ 156 h 610"/>
                    <a:gd name="T26" fmla="*/ 165 w 546"/>
                    <a:gd name="T27" fmla="*/ 123 h 610"/>
                    <a:gd name="T28" fmla="*/ 271 w 546"/>
                    <a:gd name="T29" fmla="*/ 90 h 610"/>
                    <a:gd name="T30" fmla="*/ 366 w 546"/>
                    <a:gd name="T31" fmla="*/ 61 h 610"/>
                    <a:gd name="T32" fmla="*/ 465 w 546"/>
                    <a:gd name="T33" fmla="*/ 6 h 610"/>
                    <a:gd name="T34" fmla="*/ 485 w 546"/>
                    <a:gd name="T35" fmla="*/ 0 h 610"/>
                    <a:gd name="T36" fmla="*/ 506 w 546"/>
                    <a:gd name="T37" fmla="*/ 7 h 610"/>
                    <a:gd name="T38" fmla="*/ 520 w 546"/>
                    <a:gd name="T39" fmla="*/ 33 h 610"/>
                    <a:gd name="T40" fmla="*/ 538 w 546"/>
                    <a:gd name="T41" fmla="*/ 96 h 610"/>
                    <a:gd name="T42" fmla="*/ 546 w 546"/>
                    <a:gd name="T43" fmla="*/ 183 h 610"/>
                    <a:gd name="T44" fmla="*/ 531 w 546"/>
                    <a:gd name="T45" fmla="*/ 327 h 610"/>
                    <a:gd name="T46" fmla="*/ 488 w 546"/>
                    <a:gd name="T47" fmla="*/ 453 h 610"/>
                    <a:gd name="T48" fmla="*/ 451 w 546"/>
                    <a:gd name="T49" fmla="*/ 513 h 610"/>
                    <a:gd name="T50" fmla="*/ 401 w 546"/>
                    <a:gd name="T51" fmla="*/ 560 h 610"/>
                    <a:gd name="T52" fmla="*/ 334 w 546"/>
                    <a:gd name="T53" fmla="*/ 598 h 610"/>
                    <a:gd name="T54" fmla="*/ 289 w 546"/>
                    <a:gd name="T55" fmla="*/ 609 h 610"/>
                    <a:gd name="T56" fmla="*/ 139 w 546"/>
                    <a:gd name="T57" fmla="*/ 212 h 610"/>
                    <a:gd name="T58" fmla="*/ 96 w 546"/>
                    <a:gd name="T59" fmla="*/ 249 h 610"/>
                    <a:gd name="T60" fmla="*/ 67 w 546"/>
                    <a:gd name="T61" fmla="*/ 304 h 610"/>
                    <a:gd name="T62" fmla="*/ 68 w 546"/>
                    <a:gd name="T63" fmla="*/ 334 h 610"/>
                    <a:gd name="T64" fmla="*/ 81 w 546"/>
                    <a:gd name="T65" fmla="*/ 365 h 610"/>
                    <a:gd name="T66" fmla="*/ 126 w 546"/>
                    <a:gd name="T67" fmla="*/ 413 h 610"/>
                    <a:gd name="T68" fmla="*/ 146 w 546"/>
                    <a:gd name="T69" fmla="*/ 428 h 610"/>
                    <a:gd name="T70" fmla="*/ 160 w 546"/>
                    <a:gd name="T71" fmla="*/ 458 h 610"/>
                    <a:gd name="T72" fmla="*/ 207 w 546"/>
                    <a:gd name="T73" fmla="*/ 522 h 610"/>
                    <a:gd name="T74" fmla="*/ 235 w 546"/>
                    <a:gd name="T75" fmla="*/ 539 h 610"/>
                    <a:gd name="T76" fmla="*/ 259 w 546"/>
                    <a:gd name="T77" fmla="*/ 544 h 610"/>
                    <a:gd name="T78" fmla="*/ 299 w 546"/>
                    <a:gd name="T79" fmla="*/ 540 h 610"/>
                    <a:gd name="T80" fmla="*/ 347 w 546"/>
                    <a:gd name="T81" fmla="*/ 517 h 610"/>
                    <a:gd name="T82" fmla="*/ 395 w 546"/>
                    <a:gd name="T83" fmla="*/ 477 h 610"/>
                    <a:gd name="T84" fmla="*/ 440 w 546"/>
                    <a:gd name="T85" fmla="*/ 404 h 610"/>
                    <a:gd name="T86" fmla="*/ 469 w 546"/>
                    <a:gd name="T87" fmla="*/ 302 h 610"/>
                    <a:gd name="T88" fmla="*/ 480 w 546"/>
                    <a:gd name="T89" fmla="*/ 189 h 610"/>
                    <a:gd name="T90" fmla="*/ 468 w 546"/>
                    <a:gd name="T91" fmla="*/ 84 h 610"/>
                    <a:gd name="T92" fmla="*/ 397 w 546"/>
                    <a:gd name="T93" fmla="*/ 120 h 610"/>
                    <a:gd name="T94" fmla="*/ 288 w 546"/>
                    <a:gd name="T95" fmla="*/ 154 h 610"/>
                    <a:gd name="T96" fmla="*/ 211 w 546"/>
                    <a:gd name="T97" fmla="*/ 176 h 610"/>
                    <a:gd name="T98" fmla="*/ 139 w 546"/>
                    <a:gd name="T99" fmla="*/ 212 h 6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46" h="610">
                      <a:moveTo>
                        <a:pt x="266" y="610"/>
                      </a:moveTo>
                      <a:lnTo>
                        <a:pt x="266" y="610"/>
                      </a:lnTo>
                      <a:lnTo>
                        <a:pt x="251" y="610"/>
                      </a:lnTo>
                      <a:lnTo>
                        <a:pt x="237" y="608"/>
                      </a:lnTo>
                      <a:lnTo>
                        <a:pt x="237" y="608"/>
                      </a:lnTo>
                      <a:lnTo>
                        <a:pt x="220" y="604"/>
                      </a:lnTo>
                      <a:lnTo>
                        <a:pt x="203" y="597"/>
                      </a:lnTo>
                      <a:lnTo>
                        <a:pt x="193" y="593"/>
                      </a:lnTo>
                      <a:lnTo>
                        <a:pt x="184" y="587"/>
                      </a:lnTo>
                      <a:lnTo>
                        <a:pt x="175" y="580"/>
                      </a:lnTo>
                      <a:lnTo>
                        <a:pt x="164" y="573"/>
                      </a:lnTo>
                      <a:lnTo>
                        <a:pt x="155" y="565"/>
                      </a:lnTo>
                      <a:lnTo>
                        <a:pt x="146" y="556"/>
                      </a:lnTo>
                      <a:lnTo>
                        <a:pt x="136" y="544"/>
                      </a:lnTo>
                      <a:lnTo>
                        <a:pt x="127" y="533"/>
                      </a:lnTo>
                      <a:lnTo>
                        <a:pt x="118" y="519"/>
                      </a:lnTo>
                      <a:lnTo>
                        <a:pt x="110" y="504"/>
                      </a:lnTo>
                      <a:lnTo>
                        <a:pt x="101" y="488"/>
                      </a:lnTo>
                      <a:lnTo>
                        <a:pt x="93" y="471"/>
                      </a:lnTo>
                      <a:lnTo>
                        <a:pt x="93" y="471"/>
                      </a:lnTo>
                      <a:lnTo>
                        <a:pt x="80" y="460"/>
                      </a:lnTo>
                      <a:lnTo>
                        <a:pt x="67" y="450"/>
                      </a:lnTo>
                      <a:lnTo>
                        <a:pt x="56" y="440"/>
                      </a:lnTo>
                      <a:lnTo>
                        <a:pt x="46" y="429"/>
                      </a:lnTo>
                      <a:lnTo>
                        <a:pt x="37" y="419"/>
                      </a:lnTo>
                      <a:lnTo>
                        <a:pt x="30" y="409"/>
                      </a:lnTo>
                      <a:lnTo>
                        <a:pt x="24" y="398"/>
                      </a:lnTo>
                      <a:lnTo>
                        <a:pt x="17" y="388"/>
                      </a:lnTo>
                      <a:lnTo>
                        <a:pt x="13" y="379"/>
                      </a:lnTo>
                      <a:lnTo>
                        <a:pt x="9" y="369"/>
                      </a:lnTo>
                      <a:lnTo>
                        <a:pt x="6" y="360"/>
                      </a:lnTo>
                      <a:lnTo>
                        <a:pt x="4" y="351"/>
                      </a:lnTo>
                      <a:lnTo>
                        <a:pt x="1" y="333"/>
                      </a:lnTo>
                      <a:lnTo>
                        <a:pt x="0" y="318"/>
                      </a:lnTo>
                      <a:lnTo>
                        <a:pt x="0" y="318"/>
                      </a:lnTo>
                      <a:lnTo>
                        <a:pt x="1" y="307"/>
                      </a:lnTo>
                      <a:lnTo>
                        <a:pt x="2" y="296"/>
                      </a:lnTo>
                      <a:lnTo>
                        <a:pt x="4" y="284"/>
                      </a:lnTo>
                      <a:lnTo>
                        <a:pt x="7" y="274"/>
                      </a:lnTo>
                      <a:lnTo>
                        <a:pt x="10" y="263"/>
                      </a:lnTo>
                      <a:lnTo>
                        <a:pt x="15" y="252"/>
                      </a:lnTo>
                      <a:lnTo>
                        <a:pt x="21" y="241"/>
                      </a:lnTo>
                      <a:lnTo>
                        <a:pt x="27" y="231"/>
                      </a:lnTo>
                      <a:lnTo>
                        <a:pt x="34" y="220"/>
                      </a:lnTo>
                      <a:lnTo>
                        <a:pt x="41" y="211"/>
                      </a:lnTo>
                      <a:lnTo>
                        <a:pt x="50" y="201"/>
                      </a:lnTo>
                      <a:lnTo>
                        <a:pt x="59" y="191"/>
                      </a:lnTo>
                      <a:lnTo>
                        <a:pt x="68" y="182"/>
                      </a:lnTo>
                      <a:lnTo>
                        <a:pt x="79" y="174"/>
                      </a:lnTo>
                      <a:lnTo>
                        <a:pt x="90" y="164"/>
                      </a:lnTo>
                      <a:lnTo>
                        <a:pt x="101" y="156"/>
                      </a:lnTo>
                      <a:lnTo>
                        <a:pt x="101" y="156"/>
                      </a:lnTo>
                      <a:lnTo>
                        <a:pt x="101" y="156"/>
                      </a:lnTo>
                      <a:lnTo>
                        <a:pt x="123" y="144"/>
                      </a:lnTo>
                      <a:lnTo>
                        <a:pt x="144" y="132"/>
                      </a:lnTo>
                      <a:lnTo>
                        <a:pt x="165" y="123"/>
                      </a:lnTo>
                      <a:lnTo>
                        <a:pt x="186" y="115"/>
                      </a:lnTo>
                      <a:lnTo>
                        <a:pt x="208" y="107"/>
                      </a:lnTo>
                      <a:lnTo>
                        <a:pt x="229" y="101"/>
                      </a:lnTo>
                      <a:lnTo>
                        <a:pt x="271" y="90"/>
                      </a:lnTo>
                      <a:lnTo>
                        <a:pt x="271" y="90"/>
                      </a:lnTo>
                      <a:lnTo>
                        <a:pt x="318" y="77"/>
                      </a:lnTo>
                      <a:lnTo>
                        <a:pt x="341" y="69"/>
                      </a:lnTo>
                      <a:lnTo>
                        <a:pt x="366" y="61"/>
                      </a:lnTo>
                      <a:lnTo>
                        <a:pt x="390" y="51"/>
                      </a:lnTo>
                      <a:lnTo>
                        <a:pt x="415" y="38"/>
                      </a:lnTo>
                      <a:lnTo>
                        <a:pt x="440" y="24"/>
                      </a:lnTo>
                      <a:lnTo>
                        <a:pt x="465" y="6"/>
                      </a:lnTo>
                      <a:lnTo>
                        <a:pt x="465" y="6"/>
                      </a:lnTo>
                      <a:lnTo>
                        <a:pt x="471" y="3"/>
                      </a:lnTo>
                      <a:lnTo>
                        <a:pt x="478" y="1"/>
                      </a:lnTo>
                      <a:lnTo>
                        <a:pt x="485" y="0"/>
                      </a:lnTo>
                      <a:lnTo>
                        <a:pt x="492" y="1"/>
                      </a:lnTo>
                      <a:lnTo>
                        <a:pt x="492" y="1"/>
                      </a:lnTo>
                      <a:lnTo>
                        <a:pt x="500" y="3"/>
                      </a:lnTo>
                      <a:lnTo>
                        <a:pt x="506" y="7"/>
                      </a:lnTo>
                      <a:lnTo>
                        <a:pt x="511" y="12"/>
                      </a:lnTo>
                      <a:lnTo>
                        <a:pt x="514" y="19"/>
                      </a:lnTo>
                      <a:lnTo>
                        <a:pt x="514" y="19"/>
                      </a:lnTo>
                      <a:lnTo>
                        <a:pt x="520" y="33"/>
                      </a:lnTo>
                      <a:lnTo>
                        <a:pt x="526" y="49"/>
                      </a:lnTo>
                      <a:lnTo>
                        <a:pt x="531" y="63"/>
                      </a:lnTo>
                      <a:lnTo>
                        <a:pt x="535" y="80"/>
                      </a:lnTo>
                      <a:lnTo>
                        <a:pt x="538" y="96"/>
                      </a:lnTo>
                      <a:lnTo>
                        <a:pt x="541" y="113"/>
                      </a:lnTo>
                      <a:lnTo>
                        <a:pt x="543" y="129"/>
                      </a:lnTo>
                      <a:lnTo>
                        <a:pt x="545" y="147"/>
                      </a:lnTo>
                      <a:lnTo>
                        <a:pt x="546" y="183"/>
                      </a:lnTo>
                      <a:lnTo>
                        <a:pt x="545" y="218"/>
                      </a:lnTo>
                      <a:lnTo>
                        <a:pt x="543" y="255"/>
                      </a:lnTo>
                      <a:lnTo>
                        <a:pt x="538" y="291"/>
                      </a:lnTo>
                      <a:lnTo>
                        <a:pt x="531" y="327"/>
                      </a:lnTo>
                      <a:lnTo>
                        <a:pt x="522" y="361"/>
                      </a:lnTo>
                      <a:lnTo>
                        <a:pt x="513" y="394"/>
                      </a:lnTo>
                      <a:lnTo>
                        <a:pt x="502" y="425"/>
                      </a:lnTo>
                      <a:lnTo>
                        <a:pt x="488" y="453"/>
                      </a:lnTo>
                      <a:lnTo>
                        <a:pt x="475" y="480"/>
                      </a:lnTo>
                      <a:lnTo>
                        <a:pt x="468" y="491"/>
                      </a:lnTo>
                      <a:lnTo>
                        <a:pt x="459" y="503"/>
                      </a:lnTo>
                      <a:lnTo>
                        <a:pt x="451" y="513"/>
                      </a:lnTo>
                      <a:lnTo>
                        <a:pt x="443" y="522"/>
                      </a:lnTo>
                      <a:lnTo>
                        <a:pt x="443" y="522"/>
                      </a:lnTo>
                      <a:lnTo>
                        <a:pt x="422" y="542"/>
                      </a:lnTo>
                      <a:lnTo>
                        <a:pt x="401" y="560"/>
                      </a:lnTo>
                      <a:lnTo>
                        <a:pt x="379" y="575"/>
                      </a:lnTo>
                      <a:lnTo>
                        <a:pt x="357" y="588"/>
                      </a:lnTo>
                      <a:lnTo>
                        <a:pt x="346" y="593"/>
                      </a:lnTo>
                      <a:lnTo>
                        <a:pt x="334" y="598"/>
                      </a:lnTo>
                      <a:lnTo>
                        <a:pt x="323" y="601"/>
                      </a:lnTo>
                      <a:lnTo>
                        <a:pt x="311" y="605"/>
                      </a:lnTo>
                      <a:lnTo>
                        <a:pt x="300" y="607"/>
                      </a:lnTo>
                      <a:lnTo>
                        <a:pt x="289" y="609"/>
                      </a:lnTo>
                      <a:lnTo>
                        <a:pt x="277" y="610"/>
                      </a:lnTo>
                      <a:lnTo>
                        <a:pt x="266" y="610"/>
                      </a:lnTo>
                      <a:lnTo>
                        <a:pt x="266" y="610"/>
                      </a:lnTo>
                      <a:close/>
                      <a:moveTo>
                        <a:pt x="139" y="212"/>
                      </a:moveTo>
                      <a:lnTo>
                        <a:pt x="139" y="212"/>
                      </a:lnTo>
                      <a:lnTo>
                        <a:pt x="122" y="223"/>
                      </a:lnTo>
                      <a:lnTo>
                        <a:pt x="107" y="236"/>
                      </a:lnTo>
                      <a:lnTo>
                        <a:pt x="96" y="249"/>
                      </a:lnTo>
                      <a:lnTo>
                        <a:pt x="86" y="263"/>
                      </a:lnTo>
                      <a:lnTo>
                        <a:pt x="77" y="276"/>
                      </a:lnTo>
                      <a:lnTo>
                        <a:pt x="71" y="291"/>
                      </a:lnTo>
                      <a:lnTo>
                        <a:pt x="67" y="304"/>
                      </a:lnTo>
                      <a:lnTo>
                        <a:pt x="66" y="319"/>
                      </a:lnTo>
                      <a:lnTo>
                        <a:pt x="66" y="319"/>
                      </a:lnTo>
                      <a:lnTo>
                        <a:pt x="66" y="327"/>
                      </a:lnTo>
                      <a:lnTo>
                        <a:pt x="68" y="334"/>
                      </a:lnTo>
                      <a:lnTo>
                        <a:pt x="70" y="342"/>
                      </a:lnTo>
                      <a:lnTo>
                        <a:pt x="72" y="350"/>
                      </a:lnTo>
                      <a:lnTo>
                        <a:pt x="76" y="358"/>
                      </a:lnTo>
                      <a:lnTo>
                        <a:pt x="81" y="365"/>
                      </a:lnTo>
                      <a:lnTo>
                        <a:pt x="90" y="379"/>
                      </a:lnTo>
                      <a:lnTo>
                        <a:pt x="101" y="391"/>
                      </a:lnTo>
                      <a:lnTo>
                        <a:pt x="113" y="402"/>
                      </a:lnTo>
                      <a:lnTo>
                        <a:pt x="126" y="413"/>
                      </a:lnTo>
                      <a:lnTo>
                        <a:pt x="139" y="421"/>
                      </a:lnTo>
                      <a:lnTo>
                        <a:pt x="139" y="421"/>
                      </a:lnTo>
                      <a:lnTo>
                        <a:pt x="142" y="424"/>
                      </a:lnTo>
                      <a:lnTo>
                        <a:pt x="146" y="428"/>
                      </a:lnTo>
                      <a:lnTo>
                        <a:pt x="148" y="432"/>
                      </a:lnTo>
                      <a:lnTo>
                        <a:pt x="151" y="437"/>
                      </a:lnTo>
                      <a:lnTo>
                        <a:pt x="151" y="437"/>
                      </a:lnTo>
                      <a:lnTo>
                        <a:pt x="160" y="458"/>
                      </a:lnTo>
                      <a:lnTo>
                        <a:pt x="171" y="479"/>
                      </a:lnTo>
                      <a:lnTo>
                        <a:pt x="182" y="496"/>
                      </a:lnTo>
                      <a:lnTo>
                        <a:pt x="194" y="510"/>
                      </a:lnTo>
                      <a:lnTo>
                        <a:pt x="207" y="522"/>
                      </a:lnTo>
                      <a:lnTo>
                        <a:pt x="214" y="528"/>
                      </a:lnTo>
                      <a:lnTo>
                        <a:pt x="220" y="532"/>
                      </a:lnTo>
                      <a:lnTo>
                        <a:pt x="228" y="536"/>
                      </a:lnTo>
                      <a:lnTo>
                        <a:pt x="235" y="539"/>
                      </a:lnTo>
                      <a:lnTo>
                        <a:pt x="242" y="541"/>
                      </a:lnTo>
                      <a:lnTo>
                        <a:pt x="249" y="543"/>
                      </a:lnTo>
                      <a:lnTo>
                        <a:pt x="249" y="543"/>
                      </a:lnTo>
                      <a:lnTo>
                        <a:pt x="259" y="544"/>
                      </a:lnTo>
                      <a:lnTo>
                        <a:pt x="269" y="544"/>
                      </a:lnTo>
                      <a:lnTo>
                        <a:pt x="278" y="544"/>
                      </a:lnTo>
                      <a:lnTo>
                        <a:pt x="289" y="542"/>
                      </a:lnTo>
                      <a:lnTo>
                        <a:pt x="299" y="540"/>
                      </a:lnTo>
                      <a:lnTo>
                        <a:pt x="308" y="537"/>
                      </a:lnTo>
                      <a:lnTo>
                        <a:pt x="319" y="533"/>
                      </a:lnTo>
                      <a:lnTo>
                        <a:pt x="328" y="528"/>
                      </a:lnTo>
                      <a:lnTo>
                        <a:pt x="347" y="517"/>
                      </a:lnTo>
                      <a:lnTo>
                        <a:pt x="364" y="505"/>
                      </a:lnTo>
                      <a:lnTo>
                        <a:pt x="381" y="490"/>
                      </a:lnTo>
                      <a:lnTo>
                        <a:pt x="395" y="477"/>
                      </a:lnTo>
                      <a:lnTo>
                        <a:pt x="395" y="477"/>
                      </a:lnTo>
                      <a:lnTo>
                        <a:pt x="408" y="462"/>
                      </a:lnTo>
                      <a:lnTo>
                        <a:pt x="419" y="445"/>
                      </a:lnTo>
                      <a:lnTo>
                        <a:pt x="429" y="425"/>
                      </a:lnTo>
                      <a:lnTo>
                        <a:pt x="440" y="404"/>
                      </a:lnTo>
                      <a:lnTo>
                        <a:pt x="448" y="381"/>
                      </a:lnTo>
                      <a:lnTo>
                        <a:pt x="456" y="356"/>
                      </a:lnTo>
                      <a:lnTo>
                        <a:pt x="463" y="330"/>
                      </a:lnTo>
                      <a:lnTo>
                        <a:pt x="469" y="302"/>
                      </a:lnTo>
                      <a:lnTo>
                        <a:pt x="474" y="274"/>
                      </a:lnTo>
                      <a:lnTo>
                        <a:pt x="477" y="246"/>
                      </a:lnTo>
                      <a:lnTo>
                        <a:pt x="480" y="218"/>
                      </a:lnTo>
                      <a:lnTo>
                        <a:pt x="480" y="189"/>
                      </a:lnTo>
                      <a:lnTo>
                        <a:pt x="480" y="162"/>
                      </a:lnTo>
                      <a:lnTo>
                        <a:pt x="477" y="134"/>
                      </a:lnTo>
                      <a:lnTo>
                        <a:pt x="474" y="109"/>
                      </a:lnTo>
                      <a:lnTo>
                        <a:pt x="468" y="84"/>
                      </a:lnTo>
                      <a:lnTo>
                        <a:pt x="468" y="84"/>
                      </a:lnTo>
                      <a:lnTo>
                        <a:pt x="444" y="98"/>
                      </a:lnTo>
                      <a:lnTo>
                        <a:pt x="420" y="110"/>
                      </a:lnTo>
                      <a:lnTo>
                        <a:pt x="397" y="120"/>
                      </a:lnTo>
                      <a:lnTo>
                        <a:pt x="374" y="128"/>
                      </a:lnTo>
                      <a:lnTo>
                        <a:pt x="352" y="136"/>
                      </a:lnTo>
                      <a:lnTo>
                        <a:pt x="330" y="143"/>
                      </a:lnTo>
                      <a:lnTo>
                        <a:pt x="288" y="154"/>
                      </a:lnTo>
                      <a:lnTo>
                        <a:pt x="288" y="154"/>
                      </a:lnTo>
                      <a:lnTo>
                        <a:pt x="248" y="164"/>
                      </a:lnTo>
                      <a:lnTo>
                        <a:pt x="230" y="170"/>
                      </a:lnTo>
                      <a:lnTo>
                        <a:pt x="211" y="176"/>
                      </a:lnTo>
                      <a:lnTo>
                        <a:pt x="192" y="183"/>
                      </a:lnTo>
                      <a:lnTo>
                        <a:pt x="174" y="191"/>
                      </a:lnTo>
                      <a:lnTo>
                        <a:pt x="156" y="201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Freeform 120">
                  <a:extLst>
                    <a:ext uri="{FF2B5EF4-FFF2-40B4-BE49-F238E27FC236}">
                      <a16:creationId xmlns:a16="http://schemas.microsoft.com/office/drawing/2014/main" id="{1BD9B76F-C012-49B3-83BB-FC9D1E326D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64550" y="1825625"/>
                  <a:ext cx="161925" cy="190500"/>
                </a:xfrm>
                <a:custGeom>
                  <a:avLst/>
                  <a:gdLst>
                    <a:gd name="T0" fmla="*/ 320 w 718"/>
                    <a:gd name="T1" fmla="*/ 840 h 842"/>
                    <a:gd name="T2" fmla="*/ 262 w 718"/>
                    <a:gd name="T3" fmla="*/ 822 h 842"/>
                    <a:gd name="T4" fmla="*/ 203 w 718"/>
                    <a:gd name="T5" fmla="*/ 787 h 842"/>
                    <a:gd name="T6" fmla="*/ 145 w 718"/>
                    <a:gd name="T7" fmla="*/ 735 h 842"/>
                    <a:gd name="T8" fmla="*/ 105 w 718"/>
                    <a:gd name="T9" fmla="*/ 690 h 842"/>
                    <a:gd name="T10" fmla="*/ 67 w 718"/>
                    <a:gd name="T11" fmla="*/ 625 h 842"/>
                    <a:gd name="T12" fmla="*/ 37 w 718"/>
                    <a:gd name="T13" fmla="*/ 547 h 842"/>
                    <a:gd name="T14" fmla="*/ 15 w 718"/>
                    <a:gd name="T15" fmla="*/ 456 h 842"/>
                    <a:gd name="T16" fmla="*/ 3 w 718"/>
                    <a:gd name="T17" fmla="*/ 359 h 842"/>
                    <a:gd name="T18" fmla="*/ 1 w 718"/>
                    <a:gd name="T19" fmla="*/ 261 h 842"/>
                    <a:gd name="T20" fmla="*/ 10 w 718"/>
                    <a:gd name="T21" fmla="*/ 166 h 842"/>
                    <a:gd name="T22" fmla="*/ 32 w 718"/>
                    <a:gd name="T23" fmla="*/ 77 h 842"/>
                    <a:gd name="T24" fmla="*/ 57 w 718"/>
                    <a:gd name="T25" fmla="*/ 18 h 842"/>
                    <a:gd name="T26" fmla="*/ 80 w 718"/>
                    <a:gd name="T27" fmla="*/ 1 h 842"/>
                    <a:gd name="T28" fmla="*/ 101 w 718"/>
                    <a:gd name="T29" fmla="*/ 5 h 842"/>
                    <a:gd name="T30" fmla="*/ 138 w 718"/>
                    <a:gd name="T31" fmla="*/ 31 h 842"/>
                    <a:gd name="T32" fmla="*/ 202 w 718"/>
                    <a:gd name="T33" fmla="*/ 70 h 842"/>
                    <a:gd name="T34" fmla="*/ 333 w 718"/>
                    <a:gd name="T35" fmla="*/ 119 h 842"/>
                    <a:gd name="T36" fmla="*/ 439 w 718"/>
                    <a:gd name="T37" fmla="*/ 152 h 842"/>
                    <a:gd name="T38" fmla="*/ 523 w 718"/>
                    <a:gd name="T39" fmla="*/ 188 h 842"/>
                    <a:gd name="T40" fmla="*/ 585 w 718"/>
                    <a:gd name="T41" fmla="*/ 228 h 842"/>
                    <a:gd name="T42" fmla="*/ 627 w 718"/>
                    <a:gd name="T43" fmla="*/ 269 h 842"/>
                    <a:gd name="T44" fmla="*/ 664 w 718"/>
                    <a:gd name="T45" fmla="*/ 317 h 842"/>
                    <a:gd name="T46" fmla="*/ 698 w 718"/>
                    <a:gd name="T47" fmla="*/ 380 h 842"/>
                    <a:gd name="T48" fmla="*/ 715 w 718"/>
                    <a:gd name="T49" fmla="*/ 440 h 842"/>
                    <a:gd name="T50" fmla="*/ 716 w 718"/>
                    <a:gd name="T51" fmla="*/ 498 h 842"/>
                    <a:gd name="T52" fmla="*/ 705 w 718"/>
                    <a:gd name="T53" fmla="*/ 537 h 842"/>
                    <a:gd name="T54" fmla="*/ 678 w 718"/>
                    <a:gd name="T55" fmla="*/ 585 h 842"/>
                    <a:gd name="T56" fmla="*/ 635 w 718"/>
                    <a:gd name="T57" fmla="*/ 628 h 842"/>
                    <a:gd name="T58" fmla="*/ 577 w 718"/>
                    <a:gd name="T59" fmla="*/ 667 h 842"/>
                    <a:gd name="T60" fmla="*/ 534 w 718"/>
                    <a:gd name="T61" fmla="*/ 701 h 842"/>
                    <a:gd name="T62" fmla="*/ 498 w 718"/>
                    <a:gd name="T63" fmla="*/ 760 h 842"/>
                    <a:gd name="T64" fmla="*/ 455 w 718"/>
                    <a:gd name="T65" fmla="*/ 802 h 842"/>
                    <a:gd name="T66" fmla="*/ 409 w 718"/>
                    <a:gd name="T67" fmla="*/ 830 h 842"/>
                    <a:gd name="T68" fmla="*/ 371 w 718"/>
                    <a:gd name="T69" fmla="*/ 840 h 842"/>
                    <a:gd name="T70" fmla="*/ 99 w 718"/>
                    <a:gd name="T71" fmla="*/ 85 h 842"/>
                    <a:gd name="T72" fmla="*/ 83 w 718"/>
                    <a:gd name="T73" fmla="*/ 138 h 842"/>
                    <a:gd name="T74" fmla="*/ 68 w 718"/>
                    <a:gd name="T75" fmla="*/ 235 h 842"/>
                    <a:gd name="T76" fmla="*/ 72 w 718"/>
                    <a:gd name="T77" fmla="*/ 399 h 842"/>
                    <a:gd name="T78" fmla="*/ 107 w 718"/>
                    <a:gd name="T79" fmla="*/ 550 h 842"/>
                    <a:gd name="T80" fmla="*/ 142 w 718"/>
                    <a:gd name="T81" fmla="*/ 625 h 842"/>
                    <a:gd name="T82" fmla="*/ 165 w 718"/>
                    <a:gd name="T83" fmla="*/ 661 h 842"/>
                    <a:gd name="T84" fmla="*/ 217 w 718"/>
                    <a:gd name="T85" fmla="*/ 713 h 842"/>
                    <a:gd name="T86" fmla="*/ 269 w 718"/>
                    <a:gd name="T87" fmla="*/ 751 h 842"/>
                    <a:gd name="T88" fmla="*/ 317 w 718"/>
                    <a:gd name="T89" fmla="*/ 771 h 842"/>
                    <a:gd name="T90" fmla="*/ 362 w 718"/>
                    <a:gd name="T91" fmla="*/ 774 h 842"/>
                    <a:gd name="T92" fmla="*/ 388 w 718"/>
                    <a:gd name="T93" fmla="*/ 767 h 842"/>
                    <a:gd name="T94" fmla="*/ 422 w 718"/>
                    <a:gd name="T95" fmla="*/ 744 h 842"/>
                    <a:gd name="T96" fmla="*/ 460 w 718"/>
                    <a:gd name="T97" fmla="*/ 698 h 842"/>
                    <a:gd name="T98" fmla="*/ 490 w 718"/>
                    <a:gd name="T99" fmla="*/ 640 h 842"/>
                    <a:gd name="T100" fmla="*/ 505 w 718"/>
                    <a:gd name="T101" fmla="*/ 628 h 842"/>
                    <a:gd name="T102" fmla="*/ 594 w 718"/>
                    <a:gd name="T103" fmla="*/ 577 h 842"/>
                    <a:gd name="T104" fmla="*/ 627 w 718"/>
                    <a:gd name="T105" fmla="*/ 543 h 842"/>
                    <a:gd name="T106" fmla="*/ 646 w 718"/>
                    <a:gd name="T107" fmla="*/ 506 h 842"/>
                    <a:gd name="T108" fmla="*/ 652 w 718"/>
                    <a:gd name="T109" fmla="*/ 472 h 842"/>
                    <a:gd name="T110" fmla="*/ 643 w 718"/>
                    <a:gd name="T111" fmla="*/ 423 h 842"/>
                    <a:gd name="T112" fmla="*/ 622 w 718"/>
                    <a:gd name="T113" fmla="*/ 374 h 842"/>
                    <a:gd name="T114" fmla="*/ 576 w 718"/>
                    <a:gd name="T115" fmla="*/ 312 h 842"/>
                    <a:gd name="T116" fmla="*/ 542 w 718"/>
                    <a:gd name="T117" fmla="*/ 279 h 842"/>
                    <a:gd name="T118" fmla="*/ 489 w 718"/>
                    <a:gd name="T119" fmla="*/ 245 h 842"/>
                    <a:gd name="T120" fmla="*/ 381 w 718"/>
                    <a:gd name="T121" fmla="*/ 203 h 842"/>
                    <a:gd name="T122" fmla="*/ 255 w 718"/>
                    <a:gd name="T123" fmla="*/ 164 h 842"/>
                    <a:gd name="T124" fmla="*/ 130 w 718"/>
                    <a:gd name="T125" fmla="*/ 106 h 8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18" h="842">
                      <a:moveTo>
                        <a:pt x="347" y="842"/>
                      </a:moveTo>
                      <a:lnTo>
                        <a:pt x="347" y="842"/>
                      </a:lnTo>
                      <a:lnTo>
                        <a:pt x="334" y="841"/>
                      </a:lnTo>
                      <a:lnTo>
                        <a:pt x="320" y="840"/>
                      </a:lnTo>
                      <a:lnTo>
                        <a:pt x="305" y="836"/>
                      </a:lnTo>
                      <a:lnTo>
                        <a:pt x="291" y="832"/>
                      </a:lnTo>
                      <a:lnTo>
                        <a:pt x="276" y="827"/>
                      </a:lnTo>
                      <a:lnTo>
                        <a:pt x="262" y="822"/>
                      </a:lnTo>
                      <a:lnTo>
                        <a:pt x="247" y="815"/>
                      </a:lnTo>
                      <a:lnTo>
                        <a:pt x="233" y="806"/>
                      </a:lnTo>
                      <a:lnTo>
                        <a:pt x="217" y="797"/>
                      </a:lnTo>
                      <a:lnTo>
                        <a:pt x="203" y="787"/>
                      </a:lnTo>
                      <a:lnTo>
                        <a:pt x="188" y="775"/>
                      </a:lnTo>
                      <a:lnTo>
                        <a:pt x="174" y="763"/>
                      </a:lnTo>
                      <a:lnTo>
                        <a:pt x="159" y="750"/>
                      </a:lnTo>
                      <a:lnTo>
                        <a:pt x="145" y="735"/>
                      </a:lnTo>
                      <a:lnTo>
                        <a:pt x="130" y="720"/>
                      </a:lnTo>
                      <a:lnTo>
                        <a:pt x="116" y="703"/>
                      </a:lnTo>
                      <a:lnTo>
                        <a:pt x="116" y="703"/>
                      </a:lnTo>
                      <a:lnTo>
                        <a:pt x="105" y="690"/>
                      </a:lnTo>
                      <a:lnTo>
                        <a:pt x="95" y="676"/>
                      </a:lnTo>
                      <a:lnTo>
                        <a:pt x="86" y="661"/>
                      </a:lnTo>
                      <a:lnTo>
                        <a:pt x="76" y="643"/>
                      </a:lnTo>
                      <a:lnTo>
                        <a:pt x="67" y="625"/>
                      </a:lnTo>
                      <a:lnTo>
                        <a:pt x="59" y="607"/>
                      </a:lnTo>
                      <a:lnTo>
                        <a:pt x="52" y="588"/>
                      </a:lnTo>
                      <a:lnTo>
                        <a:pt x="44" y="567"/>
                      </a:lnTo>
                      <a:lnTo>
                        <a:pt x="37" y="547"/>
                      </a:lnTo>
                      <a:lnTo>
                        <a:pt x="31" y="525"/>
                      </a:lnTo>
                      <a:lnTo>
                        <a:pt x="25" y="502"/>
                      </a:lnTo>
                      <a:lnTo>
                        <a:pt x="19" y="479"/>
                      </a:lnTo>
                      <a:lnTo>
                        <a:pt x="15" y="456"/>
                      </a:lnTo>
                      <a:lnTo>
                        <a:pt x="11" y="432"/>
                      </a:lnTo>
                      <a:lnTo>
                        <a:pt x="8" y="408"/>
                      </a:lnTo>
                      <a:lnTo>
                        <a:pt x="5" y="384"/>
                      </a:lnTo>
                      <a:lnTo>
                        <a:pt x="3" y="359"/>
                      </a:lnTo>
                      <a:lnTo>
                        <a:pt x="1" y="335"/>
                      </a:lnTo>
                      <a:lnTo>
                        <a:pt x="1" y="310"/>
                      </a:lnTo>
                      <a:lnTo>
                        <a:pt x="0" y="286"/>
                      </a:lnTo>
                      <a:lnTo>
                        <a:pt x="1" y="261"/>
                      </a:lnTo>
                      <a:lnTo>
                        <a:pt x="2" y="236"/>
                      </a:lnTo>
                      <a:lnTo>
                        <a:pt x="4" y="213"/>
                      </a:lnTo>
                      <a:lnTo>
                        <a:pt x="7" y="189"/>
                      </a:lnTo>
                      <a:lnTo>
                        <a:pt x="10" y="166"/>
                      </a:lnTo>
                      <a:lnTo>
                        <a:pt x="14" y="142"/>
                      </a:lnTo>
                      <a:lnTo>
                        <a:pt x="19" y="120"/>
                      </a:lnTo>
                      <a:lnTo>
                        <a:pt x="26" y="99"/>
                      </a:lnTo>
                      <a:lnTo>
                        <a:pt x="32" y="77"/>
                      </a:lnTo>
                      <a:lnTo>
                        <a:pt x="39" y="56"/>
                      </a:lnTo>
                      <a:lnTo>
                        <a:pt x="47" y="37"/>
                      </a:lnTo>
                      <a:lnTo>
                        <a:pt x="57" y="18"/>
                      </a:lnTo>
                      <a:lnTo>
                        <a:pt x="57" y="18"/>
                      </a:lnTo>
                      <a:lnTo>
                        <a:pt x="61" y="12"/>
                      </a:lnTo>
                      <a:lnTo>
                        <a:pt x="67" y="7"/>
                      </a:lnTo>
                      <a:lnTo>
                        <a:pt x="73" y="3"/>
                      </a:lnTo>
                      <a:lnTo>
                        <a:pt x="80" y="1"/>
                      </a:lnTo>
                      <a:lnTo>
                        <a:pt x="80" y="1"/>
                      </a:lnTo>
                      <a:lnTo>
                        <a:pt x="88" y="0"/>
                      </a:lnTo>
                      <a:lnTo>
                        <a:pt x="95" y="1"/>
                      </a:lnTo>
                      <a:lnTo>
                        <a:pt x="101" y="5"/>
                      </a:lnTo>
                      <a:lnTo>
                        <a:pt x="107" y="9"/>
                      </a:lnTo>
                      <a:lnTo>
                        <a:pt x="107" y="9"/>
                      </a:lnTo>
                      <a:lnTo>
                        <a:pt x="123" y="21"/>
                      </a:lnTo>
                      <a:lnTo>
                        <a:pt x="138" y="31"/>
                      </a:lnTo>
                      <a:lnTo>
                        <a:pt x="154" y="43"/>
                      </a:lnTo>
                      <a:lnTo>
                        <a:pt x="169" y="52"/>
                      </a:lnTo>
                      <a:lnTo>
                        <a:pt x="185" y="61"/>
                      </a:lnTo>
                      <a:lnTo>
                        <a:pt x="202" y="70"/>
                      </a:lnTo>
                      <a:lnTo>
                        <a:pt x="234" y="84"/>
                      </a:lnTo>
                      <a:lnTo>
                        <a:pt x="267" y="98"/>
                      </a:lnTo>
                      <a:lnTo>
                        <a:pt x="300" y="109"/>
                      </a:lnTo>
                      <a:lnTo>
                        <a:pt x="333" y="119"/>
                      </a:lnTo>
                      <a:lnTo>
                        <a:pt x="366" y="130"/>
                      </a:lnTo>
                      <a:lnTo>
                        <a:pt x="366" y="130"/>
                      </a:lnTo>
                      <a:lnTo>
                        <a:pt x="402" y="141"/>
                      </a:lnTo>
                      <a:lnTo>
                        <a:pt x="439" y="152"/>
                      </a:lnTo>
                      <a:lnTo>
                        <a:pt x="474" y="165"/>
                      </a:lnTo>
                      <a:lnTo>
                        <a:pt x="490" y="172"/>
                      </a:lnTo>
                      <a:lnTo>
                        <a:pt x="507" y="179"/>
                      </a:lnTo>
                      <a:lnTo>
                        <a:pt x="523" y="188"/>
                      </a:lnTo>
                      <a:lnTo>
                        <a:pt x="540" y="197"/>
                      </a:lnTo>
                      <a:lnTo>
                        <a:pt x="555" y="206"/>
                      </a:lnTo>
                      <a:lnTo>
                        <a:pt x="571" y="217"/>
                      </a:lnTo>
                      <a:lnTo>
                        <a:pt x="585" y="228"/>
                      </a:lnTo>
                      <a:lnTo>
                        <a:pt x="600" y="240"/>
                      </a:lnTo>
                      <a:lnTo>
                        <a:pt x="613" y="254"/>
                      </a:lnTo>
                      <a:lnTo>
                        <a:pt x="627" y="269"/>
                      </a:lnTo>
                      <a:lnTo>
                        <a:pt x="627" y="269"/>
                      </a:lnTo>
                      <a:lnTo>
                        <a:pt x="627" y="269"/>
                      </a:lnTo>
                      <a:lnTo>
                        <a:pt x="640" y="285"/>
                      </a:lnTo>
                      <a:lnTo>
                        <a:pt x="653" y="301"/>
                      </a:lnTo>
                      <a:lnTo>
                        <a:pt x="664" y="317"/>
                      </a:lnTo>
                      <a:lnTo>
                        <a:pt x="673" y="334"/>
                      </a:lnTo>
                      <a:lnTo>
                        <a:pt x="683" y="349"/>
                      </a:lnTo>
                      <a:lnTo>
                        <a:pt x="691" y="365"/>
                      </a:lnTo>
                      <a:lnTo>
                        <a:pt x="698" y="380"/>
                      </a:lnTo>
                      <a:lnTo>
                        <a:pt x="705" y="396"/>
                      </a:lnTo>
                      <a:lnTo>
                        <a:pt x="709" y="410"/>
                      </a:lnTo>
                      <a:lnTo>
                        <a:pt x="713" y="426"/>
                      </a:lnTo>
                      <a:lnTo>
                        <a:pt x="715" y="440"/>
                      </a:lnTo>
                      <a:lnTo>
                        <a:pt x="717" y="455"/>
                      </a:lnTo>
                      <a:lnTo>
                        <a:pt x="718" y="469"/>
                      </a:lnTo>
                      <a:lnTo>
                        <a:pt x="717" y="484"/>
                      </a:lnTo>
                      <a:lnTo>
                        <a:pt x="716" y="498"/>
                      </a:lnTo>
                      <a:lnTo>
                        <a:pt x="713" y="512"/>
                      </a:lnTo>
                      <a:lnTo>
                        <a:pt x="713" y="512"/>
                      </a:lnTo>
                      <a:lnTo>
                        <a:pt x="710" y="525"/>
                      </a:lnTo>
                      <a:lnTo>
                        <a:pt x="705" y="537"/>
                      </a:lnTo>
                      <a:lnTo>
                        <a:pt x="699" y="550"/>
                      </a:lnTo>
                      <a:lnTo>
                        <a:pt x="693" y="562"/>
                      </a:lnTo>
                      <a:lnTo>
                        <a:pt x="686" y="574"/>
                      </a:lnTo>
                      <a:lnTo>
                        <a:pt x="678" y="585"/>
                      </a:lnTo>
                      <a:lnTo>
                        <a:pt x="668" y="596"/>
                      </a:lnTo>
                      <a:lnTo>
                        <a:pt x="658" y="608"/>
                      </a:lnTo>
                      <a:lnTo>
                        <a:pt x="647" y="618"/>
                      </a:lnTo>
                      <a:lnTo>
                        <a:pt x="635" y="628"/>
                      </a:lnTo>
                      <a:lnTo>
                        <a:pt x="622" y="639"/>
                      </a:lnTo>
                      <a:lnTo>
                        <a:pt x="608" y="648"/>
                      </a:lnTo>
                      <a:lnTo>
                        <a:pt x="593" y="657"/>
                      </a:lnTo>
                      <a:lnTo>
                        <a:pt x="577" y="667"/>
                      </a:lnTo>
                      <a:lnTo>
                        <a:pt x="561" y="675"/>
                      </a:lnTo>
                      <a:lnTo>
                        <a:pt x="543" y="684"/>
                      </a:lnTo>
                      <a:lnTo>
                        <a:pt x="543" y="684"/>
                      </a:lnTo>
                      <a:lnTo>
                        <a:pt x="534" y="701"/>
                      </a:lnTo>
                      <a:lnTo>
                        <a:pt x="525" y="717"/>
                      </a:lnTo>
                      <a:lnTo>
                        <a:pt x="516" y="732"/>
                      </a:lnTo>
                      <a:lnTo>
                        <a:pt x="507" y="746"/>
                      </a:lnTo>
                      <a:lnTo>
                        <a:pt x="498" y="760"/>
                      </a:lnTo>
                      <a:lnTo>
                        <a:pt x="487" y="772"/>
                      </a:lnTo>
                      <a:lnTo>
                        <a:pt x="477" y="783"/>
                      </a:lnTo>
                      <a:lnTo>
                        <a:pt x="466" y="793"/>
                      </a:lnTo>
                      <a:lnTo>
                        <a:pt x="455" y="802"/>
                      </a:lnTo>
                      <a:lnTo>
                        <a:pt x="444" y="811"/>
                      </a:lnTo>
                      <a:lnTo>
                        <a:pt x="432" y="818"/>
                      </a:lnTo>
                      <a:lnTo>
                        <a:pt x="421" y="824"/>
                      </a:lnTo>
                      <a:lnTo>
                        <a:pt x="409" y="830"/>
                      </a:lnTo>
                      <a:lnTo>
                        <a:pt x="396" y="834"/>
                      </a:lnTo>
                      <a:lnTo>
                        <a:pt x="384" y="837"/>
                      </a:lnTo>
                      <a:lnTo>
                        <a:pt x="371" y="840"/>
                      </a:lnTo>
                      <a:lnTo>
                        <a:pt x="371" y="840"/>
                      </a:lnTo>
                      <a:lnTo>
                        <a:pt x="359" y="842"/>
                      </a:lnTo>
                      <a:lnTo>
                        <a:pt x="347" y="842"/>
                      </a:lnTo>
                      <a:lnTo>
                        <a:pt x="347" y="842"/>
                      </a:lnTo>
                      <a:close/>
                      <a:moveTo>
                        <a:pt x="99" y="85"/>
                      </a:moveTo>
                      <a:lnTo>
                        <a:pt x="99" y="85"/>
                      </a:lnTo>
                      <a:lnTo>
                        <a:pt x="93" y="102"/>
                      </a:lnTo>
                      <a:lnTo>
                        <a:pt x="88" y="119"/>
                      </a:lnTo>
                      <a:lnTo>
                        <a:pt x="83" y="138"/>
                      </a:lnTo>
                      <a:lnTo>
                        <a:pt x="78" y="157"/>
                      </a:lnTo>
                      <a:lnTo>
                        <a:pt x="75" y="175"/>
                      </a:lnTo>
                      <a:lnTo>
                        <a:pt x="72" y="195"/>
                      </a:lnTo>
                      <a:lnTo>
                        <a:pt x="68" y="235"/>
                      </a:lnTo>
                      <a:lnTo>
                        <a:pt x="66" y="276"/>
                      </a:lnTo>
                      <a:lnTo>
                        <a:pt x="66" y="317"/>
                      </a:lnTo>
                      <a:lnTo>
                        <a:pt x="68" y="358"/>
                      </a:lnTo>
                      <a:lnTo>
                        <a:pt x="72" y="399"/>
                      </a:lnTo>
                      <a:lnTo>
                        <a:pt x="78" y="439"/>
                      </a:lnTo>
                      <a:lnTo>
                        <a:pt x="87" y="477"/>
                      </a:lnTo>
                      <a:lnTo>
                        <a:pt x="96" y="515"/>
                      </a:lnTo>
                      <a:lnTo>
                        <a:pt x="107" y="550"/>
                      </a:lnTo>
                      <a:lnTo>
                        <a:pt x="120" y="582"/>
                      </a:lnTo>
                      <a:lnTo>
                        <a:pt x="126" y="597"/>
                      </a:lnTo>
                      <a:lnTo>
                        <a:pt x="133" y="612"/>
                      </a:lnTo>
                      <a:lnTo>
                        <a:pt x="142" y="625"/>
                      </a:lnTo>
                      <a:lnTo>
                        <a:pt x="149" y="638"/>
                      </a:lnTo>
                      <a:lnTo>
                        <a:pt x="157" y="649"/>
                      </a:lnTo>
                      <a:lnTo>
                        <a:pt x="165" y="661"/>
                      </a:lnTo>
                      <a:lnTo>
                        <a:pt x="165" y="661"/>
                      </a:lnTo>
                      <a:lnTo>
                        <a:pt x="179" y="675"/>
                      </a:lnTo>
                      <a:lnTo>
                        <a:pt x="191" y="688"/>
                      </a:lnTo>
                      <a:lnTo>
                        <a:pt x="205" y="701"/>
                      </a:lnTo>
                      <a:lnTo>
                        <a:pt x="217" y="713"/>
                      </a:lnTo>
                      <a:lnTo>
                        <a:pt x="231" y="724"/>
                      </a:lnTo>
                      <a:lnTo>
                        <a:pt x="243" y="734"/>
                      </a:lnTo>
                      <a:lnTo>
                        <a:pt x="256" y="742"/>
                      </a:lnTo>
                      <a:lnTo>
                        <a:pt x="269" y="751"/>
                      </a:lnTo>
                      <a:lnTo>
                        <a:pt x="281" y="757"/>
                      </a:lnTo>
                      <a:lnTo>
                        <a:pt x="294" y="763"/>
                      </a:lnTo>
                      <a:lnTo>
                        <a:pt x="305" y="767"/>
                      </a:lnTo>
                      <a:lnTo>
                        <a:pt x="317" y="771"/>
                      </a:lnTo>
                      <a:lnTo>
                        <a:pt x="329" y="773"/>
                      </a:lnTo>
                      <a:lnTo>
                        <a:pt x="340" y="775"/>
                      </a:lnTo>
                      <a:lnTo>
                        <a:pt x="351" y="775"/>
                      </a:lnTo>
                      <a:lnTo>
                        <a:pt x="362" y="774"/>
                      </a:lnTo>
                      <a:lnTo>
                        <a:pt x="362" y="774"/>
                      </a:lnTo>
                      <a:lnTo>
                        <a:pt x="370" y="772"/>
                      </a:lnTo>
                      <a:lnTo>
                        <a:pt x="380" y="770"/>
                      </a:lnTo>
                      <a:lnTo>
                        <a:pt x="388" y="767"/>
                      </a:lnTo>
                      <a:lnTo>
                        <a:pt x="397" y="762"/>
                      </a:lnTo>
                      <a:lnTo>
                        <a:pt x="405" y="758"/>
                      </a:lnTo>
                      <a:lnTo>
                        <a:pt x="414" y="752"/>
                      </a:lnTo>
                      <a:lnTo>
                        <a:pt x="422" y="744"/>
                      </a:lnTo>
                      <a:lnTo>
                        <a:pt x="429" y="737"/>
                      </a:lnTo>
                      <a:lnTo>
                        <a:pt x="438" y="729"/>
                      </a:lnTo>
                      <a:lnTo>
                        <a:pt x="445" y="718"/>
                      </a:lnTo>
                      <a:lnTo>
                        <a:pt x="460" y="698"/>
                      </a:lnTo>
                      <a:lnTo>
                        <a:pt x="474" y="673"/>
                      </a:lnTo>
                      <a:lnTo>
                        <a:pt x="488" y="645"/>
                      </a:lnTo>
                      <a:lnTo>
                        <a:pt x="488" y="645"/>
                      </a:lnTo>
                      <a:lnTo>
                        <a:pt x="490" y="640"/>
                      </a:lnTo>
                      <a:lnTo>
                        <a:pt x="494" y="636"/>
                      </a:lnTo>
                      <a:lnTo>
                        <a:pt x="500" y="632"/>
                      </a:lnTo>
                      <a:lnTo>
                        <a:pt x="505" y="628"/>
                      </a:lnTo>
                      <a:lnTo>
                        <a:pt x="505" y="628"/>
                      </a:lnTo>
                      <a:lnTo>
                        <a:pt x="535" y="615"/>
                      </a:lnTo>
                      <a:lnTo>
                        <a:pt x="561" y="599"/>
                      </a:lnTo>
                      <a:lnTo>
                        <a:pt x="583" y="584"/>
                      </a:lnTo>
                      <a:lnTo>
                        <a:pt x="594" y="577"/>
                      </a:lnTo>
                      <a:lnTo>
                        <a:pt x="603" y="568"/>
                      </a:lnTo>
                      <a:lnTo>
                        <a:pt x="612" y="560"/>
                      </a:lnTo>
                      <a:lnTo>
                        <a:pt x="620" y="551"/>
                      </a:lnTo>
                      <a:lnTo>
                        <a:pt x="627" y="543"/>
                      </a:lnTo>
                      <a:lnTo>
                        <a:pt x="633" y="533"/>
                      </a:lnTo>
                      <a:lnTo>
                        <a:pt x="638" y="525"/>
                      </a:lnTo>
                      <a:lnTo>
                        <a:pt x="642" y="516"/>
                      </a:lnTo>
                      <a:lnTo>
                        <a:pt x="646" y="506"/>
                      </a:lnTo>
                      <a:lnTo>
                        <a:pt x="649" y="497"/>
                      </a:lnTo>
                      <a:lnTo>
                        <a:pt x="649" y="497"/>
                      </a:lnTo>
                      <a:lnTo>
                        <a:pt x="651" y="485"/>
                      </a:lnTo>
                      <a:lnTo>
                        <a:pt x="652" y="472"/>
                      </a:lnTo>
                      <a:lnTo>
                        <a:pt x="651" y="460"/>
                      </a:lnTo>
                      <a:lnTo>
                        <a:pt x="650" y="447"/>
                      </a:lnTo>
                      <a:lnTo>
                        <a:pt x="647" y="435"/>
                      </a:lnTo>
                      <a:lnTo>
                        <a:pt x="643" y="423"/>
                      </a:lnTo>
                      <a:lnTo>
                        <a:pt x="638" y="410"/>
                      </a:lnTo>
                      <a:lnTo>
                        <a:pt x="633" y="398"/>
                      </a:lnTo>
                      <a:lnTo>
                        <a:pt x="628" y="386"/>
                      </a:lnTo>
                      <a:lnTo>
                        <a:pt x="622" y="374"/>
                      </a:lnTo>
                      <a:lnTo>
                        <a:pt x="607" y="352"/>
                      </a:lnTo>
                      <a:lnTo>
                        <a:pt x="592" y="330"/>
                      </a:lnTo>
                      <a:lnTo>
                        <a:pt x="576" y="312"/>
                      </a:lnTo>
                      <a:lnTo>
                        <a:pt x="576" y="312"/>
                      </a:lnTo>
                      <a:lnTo>
                        <a:pt x="576" y="312"/>
                      </a:lnTo>
                      <a:lnTo>
                        <a:pt x="566" y="299"/>
                      </a:lnTo>
                      <a:lnTo>
                        <a:pt x="554" y="289"/>
                      </a:lnTo>
                      <a:lnTo>
                        <a:pt x="542" y="279"/>
                      </a:lnTo>
                      <a:lnTo>
                        <a:pt x="530" y="269"/>
                      </a:lnTo>
                      <a:lnTo>
                        <a:pt x="517" y="260"/>
                      </a:lnTo>
                      <a:lnTo>
                        <a:pt x="504" y="252"/>
                      </a:lnTo>
                      <a:lnTo>
                        <a:pt x="489" y="245"/>
                      </a:lnTo>
                      <a:lnTo>
                        <a:pt x="475" y="237"/>
                      </a:lnTo>
                      <a:lnTo>
                        <a:pt x="445" y="225"/>
                      </a:lnTo>
                      <a:lnTo>
                        <a:pt x="414" y="214"/>
                      </a:lnTo>
                      <a:lnTo>
                        <a:pt x="381" y="203"/>
                      </a:lnTo>
                      <a:lnTo>
                        <a:pt x="346" y="193"/>
                      </a:lnTo>
                      <a:lnTo>
                        <a:pt x="346" y="193"/>
                      </a:lnTo>
                      <a:lnTo>
                        <a:pt x="286" y="174"/>
                      </a:lnTo>
                      <a:lnTo>
                        <a:pt x="255" y="164"/>
                      </a:lnTo>
                      <a:lnTo>
                        <a:pt x="224" y="151"/>
                      </a:lnTo>
                      <a:lnTo>
                        <a:pt x="192" y="138"/>
                      </a:lnTo>
                      <a:lnTo>
                        <a:pt x="161" y="124"/>
                      </a:lnTo>
                      <a:lnTo>
                        <a:pt x="130" y="106"/>
                      </a:lnTo>
                      <a:lnTo>
                        <a:pt x="115" y="96"/>
                      </a:lnTo>
                      <a:lnTo>
                        <a:pt x="99" y="85"/>
                      </a:lnTo>
                      <a:lnTo>
                        <a:pt x="99" y="85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Freeform 121">
                  <a:extLst>
                    <a:ext uri="{FF2B5EF4-FFF2-40B4-BE49-F238E27FC236}">
                      <a16:creationId xmlns:a16="http://schemas.microsoft.com/office/drawing/2014/main" id="{D1E754C6-7BF5-47EC-83F0-39B8DE955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0588" y="1887538"/>
                  <a:ext cx="200025" cy="192088"/>
                </a:xfrm>
                <a:custGeom>
                  <a:avLst/>
                  <a:gdLst>
                    <a:gd name="T0" fmla="*/ 504 w 879"/>
                    <a:gd name="T1" fmla="*/ 849 h 849"/>
                    <a:gd name="T2" fmla="*/ 493 w 879"/>
                    <a:gd name="T3" fmla="*/ 847 h 849"/>
                    <a:gd name="T4" fmla="*/ 481 w 879"/>
                    <a:gd name="T5" fmla="*/ 838 h 849"/>
                    <a:gd name="T6" fmla="*/ 475 w 879"/>
                    <a:gd name="T7" fmla="*/ 823 h 849"/>
                    <a:gd name="T8" fmla="*/ 462 w 879"/>
                    <a:gd name="T9" fmla="*/ 780 h 849"/>
                    <a:gd name="T10" fmla="*/ 424 w 879"/>
                    <a:gd name="T11" fmla="*/ 666 h 849"/>
                    <a:gd name="T12" fmla="*/ 365 w 879"/>
                    <a:gd name="T13" fmla="*/ 533 h 849"/>
                    <a:gd name="T14" fmla="*/ 317 w 879"/>
                    <a:gd name="T15" fmla="*/ 443 h 849"/>
                    <a:gd name="T16" fmla="*/ 259 w 879"/>
                    <a:gd name="T17" fmla="*/ 348 h 849"/>
                    <a:gd name="T18" fmla="*/ 189 w 879"/>
                    <a:gd name="T19" fmla="*/ 250 h 849"/>
                    <a:gd name="T20" fmla="*/ 106 w 879"/>
                    <a:gd name="T21" fmla="*/ 153 h 849"/>
                    <a:gd name="T22" fmla="*/ 11 w 879"/>
                    <a:gd name="T23" fmla="*/ 57 h 849"/>
                    <a:gd name="T24" fmla="*/ 3 w 879"/>
                    <a:gd name="T25" fmla="*/ 47 h 849"/>
                    <a:gd name="T26" fmla="*/ 0 w 879"/>
                    <a:gd name="T27" fmla="*/ 28 h 849"/>
                    <a:gd name="T28" fmla="*/ 8 w 879"/>
                    <a:gd name="T29" fmla="*/ 11 h 849"/>
                    <a:gd name="T30" fmla="*/ 19 w 879"/>
                    <a:gd name="T31" fmla="*/ 4 h 849"/>
                    <a:gd name="T32" fmla="*/ 38 w 879"/>
                    <a:gd name="T33" fmla="*/ 0 h 849"/>
                    <a:gd name="T34" fmla="*/ 56 w 879"/>
                    <a:gd name="T35" fmla="*/ 9 h 849"/>
                    <a:gd name="T36" fmla="*/ 106 w 879"/>
                    <a:gd name="T37" fmla="*/ 56 h 849"/>
                    <a:gd name="T38" fmla="*/ 177 w 879"/>
                    <a:gd name="T39" fmla="*/ 131 h 849"/>
                    <a:gd name="T40" fmla="*/ 240 w 879"/>
                    <a:gd name="T41" fmla="*/ 206 h 849"/>
                    <a:gd name="T42" fmla="*/ 343 w 879"/>
                    <a:gd name="T43" fmla="*/ 355 h 849"/>
                    <a:gd name="T44" fmla="*/ 422 w 879"/>
                    <a:gd name="T45" fmla="*/ 497 h 849"/>
                    <a:gd name="T46" fmla="*/ 478 w 879"/>
                    <a:gd name="T47" fmla="*/ 621 h 849"/>
                    <a:gd name="T48" fmla="*/ 514 w 879"/>
                    <a:gd name="T49" fmla="*/ 721 h 849"/>
                    <a:gd name="T50" fmla="*/ 549 w 879"/>
                    <a:gd name="T51" fmla="*/ 657 h 849"/>
                    <a:gd name="T52" fmla="*/ 595 w 879"/>
                    <a:gd name="T53" fmla="*/ 586 h 849"/>
                    <a:gd name="T54" fmla="*/ 653 w 879"/>
                    <a:gd name="T55" fmla="*/ 514 h 849"/>
                    <a:gd name="T56" fmla="*/ 722 w 879"/>
                    <a:gd name="T57" fmla="*/ 445 h 849"/>
                    <a:gd name="T58" fmla="*/ 803 w 879"/>
                    <a:gd name="T59" fmla="*/ 387 h 849"/>
                    <a:gd name="T60" fmla="*/ 838 w 879"/>
                    <a:gd name="T61" fmla="*/ 369 h 849"/>
                    <a:gd name="T62" fmla="*/ 858 w 879"/>
                    <a:gd name="T63" fmla="*/ 369 h 849"/>
                    <a:gd name="T64" fmla="*/ 873 w 879"/>
                    <a:gd name="T65" fmla="*/ 380 h 849"/>
                    <a:gd name="T66" fmla="*/ 878 w 879"/>
                    <a:gd name="T67" fmla="*/ 392 h 849"/>
                    <a:gd name="T68" fmla="*/ 878 w 879"/>
                    <a:gd name="T69" fmla="*/ 411 h 849"/>
                    <a:gd name="T70" fmla="*/ 867 w 879"/>
                    <a:gd name="T71" fmla="*/ 427 h 849"/>
                    <a:gd name="T72" fmla="*/ 842 w 879"/>
                    <a:gd name="T73" fmla="*/ 440 h 849"/>
                    <a:gd name="T74" fmla="*/ 786 w 879"/>
                    <a:gd name="T75" fmla="*/ 477 h 849"/>
                    <a:gd name="T76" fmla="*/ 737 w 879"/>
                    <a:gd name="T77" fmla="*/ 521 h 849"/>
                    <a:gd name="T78" fmla="*/ 692 w 879"/>
                    <a:gd name="T79" fmla="*/ 569 h 849"/>
                    <a:gd name="T80" fmla="*/ 621 w 879"/>
                    <a:gd name="T81" fmla="*/ 668 h 849"/>
                    <a:gd name="T82" fmla="*/ 570 w 879"/>
                    <a:gd name="T83" fmla="*/ 756 h 849"/>
                    <a:gd name="T84" fmla="*/ 538 w 879"/>
                    <a:gd name="T85" fmla="*/ 828 h 849"/>
                    <a:gd name="T86" fmla="*/ 533 w 879"/>
                    <a:gd name="T87" fmla="*/ 836 h 849"/>
                    <a:gd name="T88" fmla="*/ 521 w 879"/>
                    <a:gd name="T89" fmla="*/ 846 h 849"/>
                    <a:gd name="T90" fmla="*/ 507 w 879"/>
                    <a:gd name="T91" fmla="*/ 849 h 8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79" h="849">
                      <a:moveTo>
                        <a:pt x="507" y="849"/>
                      </a:moveTo>
                      <a:lnTo>
                        <a:pt x="507" y="849"/>
                      </a:lnTo>
                      <a:lnTo>
                        <a:pt x="504" y="849"/>
                      </a:lnTo>
                      <a:lnTo>
                        <a:pt x="504" y="849"/>
                      </a:lnTo>
                      <a:lnTo>
                        <a:pt x="499" y="849"/>
                      </a:lnTo>
                      <a:lnTo>
                        <a:pt x="493" y="847"/>
                      </a:lnTo>
                      <a:lnTo>
                        <a:pt x="489" y="845"/>
                      </a:lnTo>
                      <a:lnTo>
                        <a:pt x="485" y="842"/>
                      </a:lnTo>
                      <a:lnTo>
                        <a:pt x="481" y="838"/>
                      </a:lnTo>
                      <a:lnTo>
                        <a:pt x="478" y="833"/>
                      </a:lnTo>
                      <a:lnTo>
                        <a:pt x="476" y="828"/>
                      </a:lnTo>
                      <a:lnTo>
                        <a:pt x="475" y="823"/>
                      </a:lnTo>
                      <a:lnTo>
                        <a:pt x="475" y="823"/>
                      </a:lnTo>
                      <a:lnTo>
                        <a:pt x="470" y="802"/>
                      </a:lnTo>
                      <a:lnTo>
                        <a:pt x="462" y="780"/>
                      </a:lnTo>
                      <a:lnTo>
                        <a:pt x="453" y="748"/>
                      </a:lnTo>
                      <a:lnTo>
                        <a:pt x="440" y="710"/>
                      </a:lnTo>
                      <a:lnTo>
                        <a:pt x="424" y="666"/>
                      </a:lnTo>
                      <a:lnTo>
                        <a:pt x="403" y="616"/>
                      </a:lnTo>
                      <a:lnTo>
                        <a:pt x="380" y="562"/>
                      </a:lnTo>
                      <a:lnTo>
                        <a:pt x="365" y="533"/>
                      </a:lnTo>
                      <a:lnTo>
                        <a:pt x="351" y="504"/>
                      </a:lnTo>
                      <a:lnTo>
                        <a:pt x="335" y="474"/>
                      </a:lnTo>
                      <a:lnTo>
                        <a:pt x="317" y="443"/>
                      </a:lnTo>
                      <a:lnTo>
                        <a:pt x="300" y="411"/>
                      </a:lnTo>
                      <a:lnTo>
                        <a:pt x="280" y="380"/>
                      </a:lnTo>
                      <a:lnTo>
                        <a:pt x="259" y="348"/>
                      </a:lnTo>
                      <a:lnTo>
                        <a:pt x="237" y="315"/>
                      </a:lnTo>
                      <a:lnTo>
                        <a:pt x="214" y="283"/>
                      </a:lnTo>
                      <a:lnTo>
                        <a:pt x="189" y="250"/>
                      </a:lnTo>
                      <a:lnTo>
                        <a:pt x="163" y="217"/>
                      </a:lnTo>
                      <a:lnTo>
                        <a:pt x="135" y="185"/>
                      </a:lnTo>
                      <a:lnTo>
                        <a:pt x="106" y="153"/>
                      </a:lnTo>
                      <a:lnTo>
                        <a:pt x="76" y="120"/>
                      </a:lnTo>
                      <a:lnTo>
                        <a:pt x="44" y="88"/>
                      </a:lnTo>
                      <a:lnTo>
                        <a:pt x="11" y="57"/>
                      </a:lnTo>
                      <a:lnTo>
                        <a:pt x="11" y="57"/>
                      </a:lnTo>
                      <a:lnTo>
                        <a:pt x="6" y="52"/>
                      </a:lnTo>
                      <a:lnTo>
                        <a:pt x="3" y="47"/>
                      </a:lnTo>
                      <a:lnTo>
                        <a:pt x="1" y="41"/>
                      </a:lnTo>
                      <a:lnTo>
                        <a:pt x="0" y="35"/>
                      </a:lnTo>
                      <a:lnTo>
                        <a:pt x="0" y="28"/>
                      </a:lnTo>
                      <a:lnTo>
                        <a:pt x="2" y="22"/>
                      </a:lnTo>
                      <a:lnTo>
                        <a:pt x="5" y="16"/>
                      </a:lnTo>
                      <a:lnTo>
                        <a:pt x="8" y="11"/>
                      </a:lnTo>
                      <a:lnTo>
                        <a:pt x="8" y="11"/>
                      </a:lnTo>
                      <a:lnTo>
                        <a:pt x="13" y="7"/>
                      </a:lnTo>
                      <a:lnTo>
                        <a:pt x="19" y="4"/>
                      </a:lnTo>
                      <a:lnTo>
                        <a:pt x="25" y="0"/>
                      </a:lnTo>
                      <a:lnTo>
                        <a:pt x="32" y="0"/>
                      </a:lnTo>
                      <a:lnTo>
                        <a:pt x="38" y="0"/>
                      </a:lnTo>
                      <a:lnTo>
                        <a:pt x="44" y="1"/>
                      </a:lnTo>
                      <a:lnTo>
                        <a:pt x="49" y="5"/>
                      </a:lnTo>
                      <a:lnTo>
                        <a:pt x="56" y="9"/>
                      </a:lnTo>
                      <a:lnTo>
                        <a:pt x="56" y="9"/>
                      </a:lnTo>
                      <a:lnTo>
                        <a:pt x="81" y="33"/>
                      </a:lnTo>
                      <a:lnTo>
                        <a:pt x="106" y="56"/>
                      </a:lnTo>
                      <a:lnTo>
                        <a:pt x="131" y="81"/>
                      </a:lnTo>
                      <a:lnTo>
                        <a:pt x="154" y="106"/>
                      </a:lnTo>
                      <a:lnTo>
                        <a:pt x="177" y="131"/>
                      </a:lnTo>
                      <a:lnTo>
                        <a:pt x="198" y="156"/>
                      </a:lnTo>
                      <a:lnTo>
                        <a:pt x="219" y="182"/>
                      </a:lnTo>
                      <a:lnTo>
                        <a:pt x="240" y="206"/>
                      </a:lnTo>
                      <a:lnTo>
                        <a:pt x="277" y="256"/>
                      </a:lnTo>
                      <a:lnTo>
                        <a:pt x="312" y="307"/>
                      </a:lnTo>
                      <a:lnTo>
                        <a:pt x="343" y="355"/>
                      </a:lnTo>
                      <a:lnTo>
                        <a:pt x="372" y="404"/>
                      </a:lnTo>
                      <a:lnTo>
                        <a:pt x="399" y="452"/>
                      </a:lnTo>
                      <a:lnTo>
                        <a:pt x="422" y="497"/>
                      </a:lnTo>
                      <a:lnTo>
                        <a:pt x="443" y="541"/>
                      </a:lnTo>
                      <a:lnTo>
                        <a:pt x="461" y="582"/>
                      </a:lnTo>
                      <a:lnTo>
                        <a:pt x="478" y="621"/>
                      </a:lnTo>
                      <a:lnTo>
                        <a:pt x="492" y="657"/>
                      </a:lnTo>
                      <a:lnTo>
                        <a:pt x="504" y="691"/>
                      </a:lnTo>
                      <a:lnTo>
                        <a:pt x="514" y="721"/>
                      </a:lnTo>
                      <a:lnTo>
                        <a:pt x="514" y="721"/>
                      </a:lnTo>
                      <a:lnTo>
                        <a:pt x="536" y="679"/>
                      </a:lnTo>
                      <a:lnTo>
                        <a:pt x="549" y="657"/>
                      </a:lnTo>
                      <a:lnTo>
                        <a:pt x="563" y="634"/>
                      </a:lnTo>
                      <a:lnTo>
                        <a:pt x="578" y="610"/>
                      </a:lnTo>
                      <a:lnTo>
                        <a:pt x="595" y="586"/>
                      </a:lnTo>
                      <a:lnTo>
                        <a:pt x="612" y="562"/>
                      </a:lnTo>
                      <a:lnTo>
                        <a:pt x="632" y="537"/>
                      </a:lnTo>
                      <a:lnTo>
                        <a:pt x="653" y="514"/>
                      </a:lnTo>
                      <a:lnTo>
                        <a:pt x="674" y="490"/>
                      </a:lnTo>
                      <a:lnTo>
                        <a:pt x="697" y="467"/>
                      </a:lnTo>
                      <a:lnTo>
                        <a:pt x="722" y="445"/>
                      </a:lnTo>
                      <a:lnTo>
                        <a:pt x="747" y="425"/>
                      </a:lnTo>
                      <a:lnTo>
                        <a:pt x="774" y="405"/>
                      </a:lnTo>
                      <a:lnTo>
                        <a:pt x="803" y="387"/>
                      </a:lnTo>
                      <a:lnTo>
                        <a:pt x="832" y="371"/>
                      </a:lnTo>
                      <a:lnTo>
                        <a:pt x="832" y="371"/>
                      </a:lnTo>
                      <a:lnTo>
                        <a:pt x="838" y="369"/>
                      </a:lnTo>
                      <a:lnTo>
                        <a:pt x="845" y="368"/>
                      </a:lnTo>
                      <a:lnTo>
                        <a:pt x="851" y="368"/>
                      </a:lnTo>
                      <a:lnTo>
                        <a:pt x="858" y="369"/>
                      </a:lnTo>
                      <a:lnTo>
                        <a:pt x="863" y="372"/>
                      </a:lnTo>
                      <a:lnTo>
                        <a:pt x="868" y="375"/>
                      </a:lnTo>
                      <a:lnTo>
                        <a:pt x="873" y="380"/>
                      </a:lnTo>
                      <a:lnTo>
                        <a:pt x="876" y="385"/>
                      </a:lnTo>
                      <a:lnTo>
                        <a:pt x="876" y="385"/>
                      </a:lnTo>
                      <a:lnTo>
                        <a:pt x="878" y="392"/>
                      </a:lnTo>
                      <a:lnTo>
                        <a:pt x="879" y="399"/>
                      </a:lnTo>
                      <a:lnTo>
                        <a:pt x="879" y="405"/>
                      </a:lnTo>
                      <a:lnTo>
                        <a:pt x="878" y="411"/>
                      </a:lnTo>
                      <a:lnTo>
                        <a:pt x="875" y="416"/>
                      </a:lnTo>
                      <a:lnTo>
                        <a:pt x="872" y="422"/>
                      </a:lnTo>
                      <a:lnTo>
                        <a:pt x="867" y="427"/>
                      </a:lnTo>
                      <a:lnTo>
                        <a:pt x="862" y="430"/>
                      </a:lnTo>
                      <a:lnTo>
                        <a:pt x="862" y="430"/>
                      </a:lnTo>
                      <a:lnTo>
                        <a:pt x="842" y="440"/>
                      </a:lnTo>
                      <a:lnTo>
                        <a:pt x="822" y="452"/>
                      </a:lnTo>
                      <a:lnTo>
                        <a:pt x="805" y="464"/>
                      </a:lnTo>
                      <a:lnTo>
                        <a:pt x="786" y="477"/>
                      </a:lnTo>
                      <a:lnTo>
                        <a:pt x="770" y="492"/>
                      </a:lnTo>
                      <a:lnTo>
                        <a:pt x="753" y="506"/>
                      </a:lnTo>
                      <a:lnTo>
                        <a:pt x="737" y="521"/>
                      </a:lnTo>
                      <a:lnTo>
                        <a:pt x="721" y="536"/>
                      </a:lnTo>
                      <a:lnTo>
                        <a:pt x="707" y="553"/>
                      </a:lnTo>
                      <a:lnTo>
                        <a:pt x="692" y="569"/>
                      </a:lnTo>
                      <a:lnTo>
                        <a:pt x="666" y="602"/>
                      </a:lnTo>
                      <a:lnTo>
                        <a:pt x="641" y="635"/>
                      </a:lnTo>
                      <a:lnTo>
                        <a:pt x="621" y="668"/>
                      </a:lnTo>
                      <a:lnTo>
                        <a:pt x="601" y="699"/>
                      </a:lnTo>
                      <a:lnTo>
                        <a:pt x="584" y="729"/>
                      </a:lnTo>
                      <a:lnTo>
                        <a:pt x="570" y="756"/>
                      </a:lnTo>
                      <a:lnTo>
                        <a:pt x="559" y="780"/>
                      </a:lnTo>
                      <a:lnTo>
                        <a:pt x="543" y="815"/>
                      </a:lnTo>
                      <a:lnTo>
                        <a:pt x="538" y="828"/>
                      </a:lnTo>
                      <a:lnTo>
                        <a:pt x="538" y="828"/>
                      </a:lnTo>
                      <a:lnTo>
                        <a:pt x="536" y="832"/>
                      </a:lnTo>
                      <a:lnTo>
                        <a:pt x="533" y="836"/>
                      </a:lnTo>
                      <a:lnTo>
                        <a:pt x="530" y="841"/>
                      </a:lnTo>
                      <a:lnTo>
                        <a:pt x="525" y="844"/>
                      </a:lnTo>
                      <a:lnTo>
                        <a:pt x="521" y="846"/>
                      </a:lnTo>
                      <a:lnTo>
                        <a:pt x="516" y="848"/>
                      </a:lnTo>
                      <a:lnTo>
                        <a:pt x="512" y="849"/>
                      </a:lnTo>
                      <a:lnTo>
                        <a:pt x="507" y="849"/>
                      </a:lnTo>
                      <a:lnTo>
                        <a:pt x="507" y="849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95913E24-2376-4C9F-B666-084D9C2C4F39}"/>
                </a:ext>
              </a:extLst>
            </p:cNvPr>
            <p:cNvGrpSpPr/>
            <p:nvPr/>
          </p:nvGrpSpPr>
          <p:grpSpPr>
            <a:xfrm>
              <a:off x="6686340" y="698457"/>
              <a:ext cx="3907918" cy="2402730"/>
              <a:chOff x="6686340" y="698457"/>
              <a:chExt cx="3907918" cy="2402730"/>
            </a:xfrm>
          </p:grpSpPr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FAE8763B-D1F7-4127-AF2F-365B1C56CFEF}"/>
                  </a:ext>
                </a:extLst>
              </p:cNvPr>
              <p:cNvSpPr/>
              <p:nvPr/>
            </p:nvSpPr>
            <p:spPr>
              <a:xfrm>
                <a:off x="6686340" y="1031120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rgbClr val="E1BE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EB17FB32-78C1-4BCF-907B-5471F30DE5EC}"/>
                  </a:ext>
                </a:extLst>
              </p:cNvPr>
              <p:cNvSpPr/>
              <p:nvPr/>
            </p:nvSpPr>
            <p:spPr>
              <a:xfrm>
                <a:off x="6968657" y="698457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870D5DD-ABA8-4F9F-A893-C801A941BB9E}"/>
                  </a:ext>
                </a:extLst>
              </p:cNvPr>
              <p:cNvGrpSpPr/>
              <p:nvPr/>
            </p:nvGrpSpPr>
            <p:grpSpPr>
              <a:xfrm>
                <a:off x="6967796" y="1643817"/>
                <a:ext cx="3314119" cy="1160109"/>
                <a:chOff x="1694985" y="4094325"/>
                <a:chExt cx="3314119" cy="1160109"/>
              </a:xfrm>
            </p:grpSpPr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0DF03256-45DE-4734-8953-5D16C754F01C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73866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1"/>
                      </a:solidFill>
                    </a:rPr>
                    <a:t>Lorem ipsum dolor sit amet, consectetuer adipiscing elit. Maecenas porttitor congue massa. Fusce posuere, magna sed pulvinar ultricies, purus lectus malesuada libero, 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AC93C14F-1AE9-4E95-92DA-082C3345DB2E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id-ID" b="1" dirty="0">
                      <a:solidFill>
                        <a:schemeClr val="bg1"/>
                      </a:solidFill>
                    </a:rPr>
                    <a:t>Lorem ipsum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3CCA4EA8-D5E1-4646-9921-BEA6455BD73F}"/>
                  </a:ext>
                </a:extLst>
              </p:cNvPr>
              <p:cNvGrpSpPr/>
              <p:nvPr/>
            </p:nvGrpSpPr>
            <p:grpSpPr>
              <a:xfrm>
                <a:off x="7137808" y="867608"/>
                <a:ext cx="327025" cy="327025"/>
                <a:chOff x="4125913" y="2552700"/>
                <a:chExt cx="327025" cy="327025"/>
              </a:xfrm>
            </p:grpSpPr>
            <p:sp>
              <p:nvSpPr>
                <p:cNvPr id="40" name="Freeform 5">
                  <a:extLst>
                    <a:ext uri="{FF2B5EF4-FFF2-40B4-BE49-F238E27FC236}">
                      <a16:creationId xmlns:a16="http://schemas.microsoft.com/office/drawing/2014/main" id="{62060247-0D5E-4BB6-9242-6E704B8A23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6550" y="2663825"/>
                  <a:ext cx="193675" cy="195263"/>
                </a:xfrm>
                <a:custGeom>
                  <a:avLst/>
                  <a:gdLst>
                    <a:gd name="T0" fmla="*/ 33 w 860"/>
                    <a:gd name="T1" fmla="*/ 860 h 860"/>
                    <a:gd name="T2" fmla="*/ 33 w 860"/>
                    <a:gd name="T3" fmla="*/ 860 h 860"/>
                    <a:gd name="T4" fmla="*/ 27 w 860"/>
                    <a:gd name="T5" fmla="*/ 859 h 860"/>
                    <a:gd name="T6" fmla="*/ 21 w 860"/>
                    <a:gd name="T7" fmla="*/ 857 h 860"/>
                    <a:gd name="T8" fmla="*/ 16 w 860"/>
                    <a:gd name="T9" fmla="*/ 854 h 860"/>
                    <a:gd name="T10" fmla="*/ 11 w 860"/>
                    <a:gd name="T11" fmla="*/ 850 h 860"/>
                    <a:gd name="T12" fmla="*/ 11 w 860"/>
                    <a:gd name="T13" fmla="*/ 850 h 860"/>
                    <a:gd name="T14" fmla="*/ 5 w 860"/>
                    <a:gd name="T15" fmla="*/ 845 h 860"/>
                    <a:gd name="T16" fmla="*/ 3 w 860"/>
                    <a:gd name="T17" fmla="*/ 840 h 860"/>
                    <a:gd name="T18" fmla="*/ 1 w 860"/>
                    <a:gd name="T19" fmla="*/ 833 h 860"/>
                    <a:gd name="T20" fmla="*/ 0 w 860"/>
                    <a:gd name="T21" fmla="*/ 827 h 860"/>
                    <a:gd name="T22" fmla="*/ 1 w 860"/>
                    <a:gd name="T23" fmla="*/ 821 h 860"/>
                    <a:gd name="T24" fmla="*/ 3 w 860"/>
                    <a:gd name="T25" fmla="*/ 815 h 860"/>
                    <a:gd name="T26" fmla="*/ 5 w 860"/>
                    <a:gd name="T27" fmla="*/ 809 h 860"/>
                    <a:gd name="T28" fmla="*/ 11 w 860"/>
                    <a:gd name="T29" fmla="*/ 803 h 860"/>
                    <a:gd name="T30" fmla="*/ 803 w 860"/>
                    <a:gd name="T31" fmla="*/ 10 h 860"/>
                    <a:gd name="T32" fmla="*/ 803 w 860"/>
                    <a:gd name="T33" fmla="*/ 10 h 860"/>
                    <a:gd name="T34" fmla="*/ 809 w 860"/>
                    <a:gd name="T35" fmla="*/ 6 h 860"/>
                    <a:gd name="T36" fmla="*/ 815 w 860"/>
                    <a:gd name="T37" fmla="*/ 2 h 860"/>
                    <a:gd name="T38" fmla="*/ 821 w 860"/>
                    <a:gd name="T39" fmla="*/ 1 h 860"/>
                    <a:gd name="T40" fmla="*/ 827 w 860"/>
                    <a:gd name="T41" fmla="*/ 0 h 860"/>
                    <a:gd name="T42" fmla="*/ 833 w 860"/>
                    <a:gd name="T43" fmla="*/ 1 h 860"/>
                    <a:gd name="T44" fmla="*/ 840 w 860"/>
                    <a:gd name="T45" fmla="*/ 2 h 860"/>
                    <a:gd name="T46" fmla="*/ 845 w 860"/>
                    <a:gd name="T47" fmla="*/ 6 h 860"/>
                    <a:gd name="T48" fmla="*/ 850 w 860"/>
                    <a:gd name="T49" fmla="*/ 10 h 860"/>
                    <a:gd name="T50" fmla="*/ 850 w 860"/>
                    <a:gd name="T51" fmla="*/ 10 h 860"/>
                    <a:gd name="T52" fmla="*/ 855 w 860"/>
                    <a:gd name="T53" fmla="*/ 15 h 860"/>
                    <a:gd name="T54" fmla="*/ 857 w 860"/>
                    <a:gd name="T55" fmla="*/ 21 h 860"/>
                    <a:gd name="T56" fmla="*/ 859 w 860"/>
                    <a:gd name="T57" fmla="*/ 27 h 860"/>
                    <a:gd name="T58" fmla="*/ 860 w 860"/>
                    <a:gd name="T59" fmla="*/ 34 h 860"/>
                    <a:gd name="T60" fmla="*/ 859 w 860"/>
                    <a:gd name="T61" fmla="*/ 40 h 860"/>
                    <a:gd name="T62" fmla="*/ 857 w 860"/>
                    <a:gd name="T63" fmla="*/ 46 h 860"/>
                    <a:gd name="T64" fmla="*/ 855 w 860"/>
                    <a:gd name="T65" fmla="*/ 52 h 860"/>
                    <a:gd name="T66" fmla="*/ 850 w 860"/>
                    <a:gd name="T67" fmla="*/ 57 h 860"/>
                    <a:gd name="T68" fmla="*/ 57 w 860"/>
                    <a:gd name="T69" fmla="*/ 850 h 860"/>
                    <a:gd name="T70" fmla="*/ 57 w 860"/>
                    <a:gd name="T71" fmla="*/ 850 h 860"/>
                    <a:gd name="T72" fmla="*/ 52 w 860"/>
                    <a:gd name="T73" fmla="*/ 854 h 860"/>
                    <a:gd name="T74" fmla="*/ 46 w 860"/>
                    <a:gd name="T75" fmla="*/ 857 h 860"/>
                    <a:gd name="T76" fmla="*/ 40 w 860"/>
                    <a:gd name="T77" fmla="*/ 859 h 860"/>
                    <a:gd name="T78" fmla="*/ 33 w 860"/>
                    <a:gd name="T79" fmla="*/ 860 h 860"/>
                    <a:gd name="T80" fmla="*/ 33 w 860"/>
                    <a:gd name="T81" fmla="*/ 860 h 8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860" h="860">
                      <a:moveTo>
                        <a:pt x="33" y="860"/>
                      </a:moveTo>
                      <a:lnTo>
                        <a:pt x="33" y="860"/>
                      </a:lnTo>
                      <a:lnTo>
                        <a:pt x="27" y="859"/>
                      </a:lnTo>
                      <a:lnTo>
                        <a:pt x="21" y="857"/>
                      </a:lnTo>
                      <a:lnTo>
                        <a:pt x="16" y="854"/>
                      </a:lnTo>
                      <a:lnTo>
                        <a:pt x="11" y="850"/>
                      </a:lnTo>
                      <a:lnTo>
                        <a:pt x="11" y="850"/>
                      </a:lnTo>
                      <a:lnTo>
                        <a:pt x="5" y="845"/>
                      </a:lnTo>
                      <a:lnTo>
                        <a:pt x="3" y="840"/>
                      </a:lnTo>
                      <a:lnTo>
                        <a:pt x="1" y="833"/>
                      </a:lnTo>
                      <a:lnTo>
                        <a:pt x="0" y="827"/>
                      </a:lnTo>
                      <a:lnTo>
                        <a:pt x="1" y="821"/>
                      </a:lnTo>
                      <a:lnTo>
                        <a:pt x="3" y="815"/>
                      </a:lnTo>
                      <a:lnTo>
                        <a:pt x="5" y="809"/>
                      </a:lnTo>
                      <a:lnTo>
                        <a:pt x="11" y="803"/>
                      </a:lnTo>
                      <a:lnTo>
                        <a:pt x="803" y="10"/>
                      </a:lnTo>
                      <a:lnTo>
                        <a:pt x="803" y="10"/>
                      </a:lnTo>
                      <a:lnTo>
                        <a:pt x="809" y="6"/>
                      </a:lnTo>
                      <a:lnTo>
                        <a:pt x="815" y="2"/>
                      </a:lnTo>
                      <a:lnTo>
                        <a:pt x="821" y="1"/>
                      </a:lnTo>
                      <a:lnTo>
                        <a:pt x="827" y="0"/>
                      </a:lnTo>
                      <a:lnTo>
                        <a:pt x="833" y="1"/>
                      </a:lnTo>
                      <a:lnTo>
                        <a:pt x="840" y="2"/>
                      </a:lnTo>
                      <a:lnTo>
                        <a:pt x="845" y="6"/>
                      </a:lnTo>
                      <a:lnTo>
                        <a:pt x="850" y="10"/>
                      </a:lnTo>
                      <a:lnTo>
                        <a:pt x="850" y="10"/>
                      </a:lnTo>
                      <a:lnTo>
                        <a:pt x="855" y="15"/>
                      </a:lnTo>
                      <a:lnTo>
                        <a:pt x="857" y="21"/>
                      </a:lnTo>
                      <a:lnTo>
                        <a:pt x="859" y="27"/>
                      </a:lnTo>
                      <a:lnTo>
                        <a:pt x="860" y="34"/>
                      </a:lnTo>
                      <a:lnTo>
                        <a:pt x="859" y="40"/>
                      </a:lnTo>
                      <a:lnTo>
                        <a:pt x="857" y="46"/>
                      </a:lnTo>
                      <a:lnTo>
                        <a:pt x="855" y="52"/>
                      </a:lnTo>
                      <a:lnTo>
                        <a:pt x="850" y="57"/>
                      </a:lnTo>
                      <a:lnTo>
                        <a:pt x="57" y="850"/>
                      </a:lnTo>
                      <a:lnTo>
                        <a:pt x="57" y="850"/>
                      </a:lnTo>
                      <a:lnTo>
                        <a:pt x="52" y="854"/>
                      </a:lnTo>
                      <a:lnTo>
                        <a:pt x="46" y="857"/>
                      </a:lnTo>
                      <a:lnTo>
                        <a:pt x="40" y="859"/>
                      </a:lnTo>
                      <a:lnTo>
                        <a:pt x="33" y="860"/>
                      </a:lnTo>
                      <a:lnTo>
                        <a:pt x="33" y="860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Freeform 6">
                  <a:extLst>
                    <a:ext uri="{FF2B5EF4-FFF2-40B4-BE49-F238E27FC236}">
                      <a16:creationId xmlns:a16="http://schemas.microsoft.com/office/drawing/2014/main" id="{A1D8B027-C018-481C-81D8-C2FCD8597F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5913" y="2552700"/>
                  <a:ext cx="327025" cy="327025"/>
                </a:xfrm>
                <a:custGeom>
                  <a:avLst/>
                  <a:gdLst>
                    <a:gd name="T0" fmla="*/ 509 w 1444"/>
                    <a:gd name="T1" fmla="*/ 1438 h 1443"/>
                    <a:gd name="T2" fmla="*/ 379 w 1444"/>
                    <a:gd name="T3" fmla="*/ 1406 h 1443"/>
                    <a:gd name="T4" fmla="*/ 244 w 1444"/>
                    <a:gd name="T5" fmla="*/ 1345 h 1443"/>
                    <a:gd name="T6" fmla="*/ 153 w 1444"/>
                    <a:gd name="T7" fmla="*/ 1289 h 1443"/>
                    <a:gd name="T8" fmla="*/ 75 w 1444"/>
                    <a:gd name="T9" fmla="*/ 1153 h 1443"/>
                    <a:gd name="T10" fmla="*/ 20 w 1444"/>
                    <a:gd name="T11" fmla="*/ 1007 h 1443"/>
                    <a:gd name="T12" fmla="*/ 2 w 1444"/>
                    <a:gd name="T13" fmla="*/ 905 h 1443"/>
                    <a:gd name="T14" fmla="*/ 2 w 1444"/>
                    <a:gd name="T15" fmla="*/ 808 h 1443"/>
                    <a:gd name="T16" fmla="*/ 21 w 1444"/>
                    <a:gd name="T17" fmla="*/ 715 h 1443"/>
                    <a:gd name="T18" fmla="*/ 48 w 1444"/>
                    <a:gd name="T19" fmla="*/ 643 h 1443"/>
                    <a:gd name="T20" fmla="*/ 119 w 1444"/>
                    <a:gd name="T21" fmla="*/ 530 h 1443"/>
                    <a:gd name="T22" fmla="*/ 216 w 1444"/>
                    <a:gd name="T23" fmla="*/ 429 h 1443"/>
                    <a:gd name="T24" fmla="*/ 331 w 1444"/>
                    <a:gd name="T25" fmla="*/ 342 h 1443"/>
                    <a:gd name="T26" fmla="*/ 517 w 1444"/>
                    <a:gd name="T27" fmla="*/ 240 h 1443"/>
                    <a:gd name="T28" fmla="*/ 801 w 1444"/>
                    <a:gd name="T29" fmla="*/ 130 h 1443"/>
                    <a:gd name="T30" fmla="*/ 1072 w 1444"/>
                    <a:gd name="T31" fmla="*/ 58 h 1443"/>
                    <a:gd name="T32" fmla="*/ 1387 w 1444"/>
                    <a:gd name="T33" fmla="*/ 2 h 1443"/>
                    <a:gd name="T34" fmla="*/ 1428 w 1444"/>
                    <a:gd name="T35" fmla="*/ 5 h 1443"/>
                    <a:gd name="T36" fmla="*/ 1444 w 1444"/>
                    <a:gd name="T37" fmla="*/ 29 h 1443"/>
                    <a:gd name="T38" fmla="*/ 1426 w 1444"/>
                    <a:gd name="T39" fmla="*/ 158 h 1443"/>
                    <a:gd name="T40" fmla="*/ 1361 w 1444"/>
                    <a:gd name="T41" fmla="*/ 475 h 1443"/>
                    <a:gd name="T42" fmla="*/ 1274 w 1444"/>
                    <a:gd name="T43" fmla="*/ 756 h 1443"/>
                    <a:gd name="T44" fmla="*/ 1148 w 1444"/>
                    <a:gd name="T45" fmla="*/ 1036 h 1443"/>
                    <a:gd name="T46" fmla="*/ 1068 w 1444"/>
                    <a:gd name="T47" fmla="*/ 1161 h 1443"/>
                    <a:gd name="T48" fmla="*/ 976 w 1444"/>
                    <a:gd name="T49" fmla="*/ 1268 h 1443"/>
                    <a:gd name="T50" fmla="*/ 871 w 1444"/>
                    <a:gd name="T51" fmla="*/ 1355 h 1443"/>
                    <a:gd name="T52" fmla="*/ 774 w 1444"/>
                    <a:gd name="T53" fmla="*/ 1406 h 1443"/>
                    <a:gd name="T54" fmla="*/ 641 w 1444"/>
                    <a:gd name="T55" fmla="*/ 1440 h 1443"/>
                    <a:gd name="T56" fmla="*/ 201 w 1444"/>
                    <a:gd name="T57" fmla="*/ 1242 h 1443"/>
                    <a:gd name="T58" fmla="*/ 396 w 1444"/>
                    <a:gd name="T59" fmla="*/ 1341 h 1443"/>
                    <a:gd name="T60" fmla="*/ 558 w 1444"/>
                    <a:gd name="T61" fmla="*/ 1376 h 1443"/>
                    <a:gd name="T62" fmla="*/ 644 w 1444"/>
                    <a:gd name="T63" fmla="*/ 1373 h 1443"/>
                    <a:gd name="T64" fmla="*/ 726 w 1444"/>
                    <a:gd name="T65" fmla="*/ 1354 h 1443"/>
                    <a:gd name="T66" fmla="*/ 792 w 1444"/>
                    <a:gd name="T67" fmla="*/ 1325 h 1443"/>
                    <a:gd name="T68" fmla="*/ 885 w 1444"/>
                    <a:gd name="T69" fmla="*/ 1262 h 1443"/>
                    <a:gd name="T70" fmla="*/ 968 w 1444"/>
                    <a:gd name="T71" fmla="*/ 1179 h 1443"/>
                    <a:gd name="T72" fmla="*/ 1069 w 1444"/>
                    <a:gd name="T73" fmla="*/ 1039 h 1443"/>
                    <a:gd name="T74" fmla="*/ 1184 w 1444"/>
                    <a:gd name="T75" fmla="*/ 803 h 1443"/>
                    <a:gd name="T76" fmla="*/ 1269 w 1444"/>
                    <a:gd name="T77" fmla="*/ 554 h 1443"/>
                    <a:gd name="T78" fmla="*/ 1344 w 1444"/>
                    <a:gd name="T79" fmla="*/ 245 h 1443"/>
                    <a:gd name="T80" fmla="*/ 1327 w 1444"/>
                    <a:gd name="T81" fmla="*/ 77 h 1443"/>
                    <a:gd name="T82" fmla="*/ 984 w 1444"/>
                    <a:gd name="T83" fmla="*/ 149 h 1443"/>
                    <a:gd name="T84" fmla="*/ 740 w 1444"/>
                    <a:gd name="T85" fmla="*/ 222 h 1443"/>
                    <a:gd name="T86" fmla="*/ 496 w 1444"/>
                    <a:gd name="T87" fmla="*/ 325 h 1443"/>
                    <a:gd name="T88" fmla="*/ 301 w 1444"/>
                    <a:gd name="T89" fmla="*/ 445 h 1443"/>
                    <a:gd name="T90" fmla="*/ 212 w 1444"/>
                    <a:gd name="T91" fmla="*/ 524 h 1443"/>
                    <a:gd name="T92" fmla="*/ 141 w 1444"/>
                    <a:gd name="T93" fmla="*/ 613 h 1443"/>
                    <a:gd name="T94" fmla="*/ 102 w 1444"/>
                    <a:gd name="T95" fmla="*/ 687 h 1443"/>
                    <a:gd name="T96" fmla="*/ 76 w 1444"/>
                    <a:gd name="T97" fmla="*/ 766 h 1443"/>
                    <a:gd name="T98" fmla="*/ 67 w 1444"/>
                    <a:gd name="T99" fmla="*/ 850 h 1443"/>
                    <a:gd name="T100" fmla="*/ 80 w 1444"/>
                    <a:gd name="T101" fmla="*/ 974 h 1443"/>
                    <a:gd name="T102" fmla="*/ 153 w 1444"/>
                    <a:gd name="T103" fmla="*/ 1163 h 14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44" h="1443">
                      <a:moveTo>
                        <a:pt x="585" y="1443"/>
                      </a:moveTo>
                      <a:lnTo>
                        <a:pt x="585" y="1443"/>
                      </a:lnTo>
                      <a:lnTo>
                        <a:pt x="560" y="1442"/>
                      </a:lnTo>
                      <a:lnTo>
                        <a:pt x="535" y="1441"/>
                      </a:lnTo>
                      <a:lnTo>
                        <a:pt x="509" y="1438"/>
                      </a:lnTo>
                      <a:lnTo>
                        <a:pt x="485" y="1434"/>
                      </a:lnTo>
                      <a:lnTo>
                        <a:pt x="459" y="1429"/>
                      </a:lnTo>
                      <a:lnTo>
                        <a:pt x="432" y="1423"/>
                      </a:lnTo>
                      <a:lnTo>
                        <a:pt x="406" y="1414"/>
                      </a:lnTo>
                      <a:lnTo>
                        <a:pt x="379" y="1406"/>
                      </a:lnTo>
                      <a:lnTo>
                        <a:pt x="352" y="1396"/>
                      </a:lnTo>
                      <a:lnTo>
                        <a:pt x="325" y="1384"/>
                      </a:lnTo>
                      <a:lnTo>
                        <a:pt x="298" y="1373"/>
                      </a:lnTo>
                      <a:lnTo>
                        <a:pt x="270" y="1359"/>
                      </a:lnTo>
                      <a:lnTo>
                        <a:pt x="244" y="1345"/>
                      </a:lnTo>
                      <a:lnTo>
                        <a:pt x="216" y="1328"/>
                      </a:lnTo>
                      <a:lnTo>
                        <a:pt x="188" y="1312"/>
                      </a:lnTo>
                      <a:lnTo>
                        <a:pt x="159" y="1294"/>
                      </a:lnTo>
                      <a:lnTo>
                        <a:pt x="159" y="1294"/>
                      </a:lnTo>
                      <a:lnTo>
                        <a:pt x="153" y="1289"/>
                      </a:lnTo>
                      <a:lnTo>
                        <a:pt x="149" y="1284"/>
                      </a:lnTo>
                      <a:lnTo>
                        <a:pt x="149" y="1284"/>
                      </a:lnTo>
                      <a:lnTo>
                        <a:pt x="121" y="1240"/>
                      </a:lnTo>
                      <a:lnTo>
                        <a:pt x="97" y="1196"/>
                      </a:lnTo>
                      <a:lnTo>
                        <a:pt x="75" y="1153"/>
                      </a:lnTo>
                      <a:lnTo>
                        <a:pt x="55" y="1111"/>
                      </a:lnTo>
                      <a:lnTo>
                        <a:pt x="40" y="1069"/>
                      </a:lnTo>
                      <a:lnTo>
                        <a:pt x="32" y="1048"/>
                      </a:lnTo>
                      <a:lnTo>
                        <a:pt x="26" y="1027"/>
                      </a:lnTo>
                      <a:lnTo>
                        <a:pt x="20" y="1007"/>
                      </a:lnTo>
                      <a:lnTo>
                        <a:pt x="15" y="986"/>
                      </a:lnTo>
                      <a:lnTo>
                        <a:pt x="11" y="965"/>
                      </a:lnTo>
                      <a:lnTo>
                        <a:pt x="8" y="946"/>
                      </a:lnTo>
                      <a:lnTo>
                        <a:pt x="4" y="926"/>
                      </a:lnTo>
                      <a:lnTo>
                        <a:pt x="2" y="905"/>
                      </a:lnTo>
                      <a:lnTo>
                        <a:pt x="1" y="885"/>
                      </a:lnTo>
                      <a:lnTo>
                        <a:pt x="0" y="866"/>
                      </a:lnTo>
                      <a:lnTo>
                        <a:pt x="0" y="847"/>
                      </a:lnTo>
                      <a:lnTo>
                        <a:pt x="1" y="828"/>
                      </a:lnTo>
                      <a:lnTo>
                        <a:pt x="2" y="808"/>
                      </a:lnTo>
                      <a:lnTo>
                        <a:pt x="4" y="789"/>
                      </a:lnTo>
                      <a:lnTo>
                        <a:pt x="8" y="771"/>
                      </a:lnTo>
                      <a:lnTo>
                        <a:pt x="12" y="752"/>
                      </a:lnTo>
                      <a:lnTo>
                        <a:pt x="16" y="733"/>
                      </a:lnTo>
                      <a:lnTo>
                        <a:pt x="21" y="715"/>
                      </a:lnTo>
                      <a:lnTo>
                        <a:pt x="26" y="697"/>
                      </a:lnTo>
                      <a:lnTo>
                        <a:pt x="33" y="679"/>
                      </a:lnTo>
                      <a:lnTo>
                        <a:pt x="41" y="661"/>
                      </a:lnTo>
                      <a:lnTo>
                        <a:pt x="48" y="643"/>
                      </a:lnTo>
                      <a:lnTo>
                        <a:pt x="48" y="643"/>
                      </a:lnTo>
                      <a:lnTo>
                        <a:pt x="60" y="620"/>
                      </a:lnTo>
                      <a:lnTo>
                        <a:pt x="74" y="596"/>
                      </a:lnTo>
                      <a:lnTo>
                        <a:pt x="88" y="573"/>
                      </a:lnTo>
                      <a:lnTo>
                        <a:pt x="103" y="551"/>
                      </a:lnTo>
                      <a:lnTo>
                        <a:pt x="119" y="530"/>
                      </a:lnTo>
                      <a:lnTo>
                        <a:pt x="137" y="508"/>
                      </a:lnTo>
                      <a:lnTo>
                        <a:pt x="156" y="488"/>
                      </a:lnTo>
                      <a:lnTo>
                        <a:pt x="174" y="467"/>
                      </a:lnTo>
                      <a:lnTo>
                        <a:pt x="195" y="448"/>
                      </a:lnTo>
                      <a:lnTo>
                        <a:pt x="216" y="429"/>
                      </a:lnTo>
                      <a:lnTo>
                        <a:pt x="237" y="411"/>
                      </a:lnTo>
                      <a:lnTo>
                        <a:pt x="260" y="393"/>
                      </a:lnTo>
                      <a:lnTo>
                        <a:pt x="283" y="375"/>
                      </a:lnTo>
                      <a:lnTo>
                        <a:pt x="307" y="359"/>
                      </a:lnTo>
                      <a:lnTo>
                        <a:pt x="331" y="342"/>
                      </a:lnTo>
                      <a:lnTo>
                        <a:pt x="356" y="326"/>
                      </a:lnTo>
                      <a:lnTo>
                        <a:pt x="382" y="310"/>
                      </a:lnTo>
                      <a:lnTo>
                        <a:pt x="408" y="296"/>
                      </a:lnTo>
                      <a:lnTo>
                        <a:pt x="462" y="267"/>
                      </a:lnTo>
                      <a:lnTo>
                        <a:pt x="517" y="240"/>
                      </a:lnTo>
                      <a:lnTo>
                        <a:pt x="573" y="215"/>
                      </a:lnTo>
                      <a:lnTo>
                        <a:pt x="630" y="191"/>
                      </a:lnTo>
                      <a:lnTo>
                        <a:pt x="687" y="169"/>
                      </a:lnTo>
                      <a:lnTo>
                        <a:pt x="744" y="149"/>
                      </a:lnTo>
                      <a:lnTo>
                        <a:pt x="801" y="130"/>
                      </a:lnTo>
                      <a:lnTo>
                        <a:pt x="858" y="113"/>
                      </a:lnTo>
                      <a:lnTo>
                        <a:pt x="914" y="97"/>
                      </a:lnTo>
                      <a:lnTo>
                        <a:pt x="968" y="83"/>
                      </a:lnTo>
                      <a:lnTo>
                        <a:pt x="1022" y="70"/>
                      </a:lnTo>
                      <a:lnTo>
                        <a:pt x="1072" y="58"/>
                      </a:lnTo>
                      <a:lnTo>
                        <a:pt x="1121" y="47"/>
                      </a:lnTo>
                      <a:lnTo>
                        <a:pt x="1210" y="30"/>
                      </a:lnTo>
                      <a:lnTo>
                        <a:pt x="1286" y="17"/>
                      </a:lnTo>
                      <a:lnTo>
                        <a:pt x="1346" y="8"/>
                      </a:lnTo>
                      <a:lnTo>
                        <a:pt x="1387" y="2"/>
                      </a:lnTo>
                      <a:lnTo>
                        <a:pt x="1408" y="0"/>
                      </a:lnTo>
                      <a:lnTo>
                        <a:pt x="1408" y="0"/>
                      </a:lnTo>
                      <a:lnTo>
                        <a:pt x="1415" y="0"/>
                      </a:lnTo>
                      <a:lnTo>
                        <a:pt x="1422" y="2"/>
                      </a:lnTo>
                      <a:lnTo>
                        <a:pt x="1428" y="5"/>
                      </a:lnTo>
                      <a:lnTo>
                        <a:pt x="1435" y="9"/>
                      </a:lnTo>
                      <a:lnTo>
                        <a:pt x="1435" y="9"/>
                      </a:lnTo>
                      <a:lnTo>
                        <a:pt x="1439" y="15"/>
                      </a:lnTo>
                      <a:lnTo>
                        <a:pt x="1442" y="22"/>
                      </a:lnTo>
                      <a:lnTo>
                        <a:pt x="1444" y="29"/>
                      </a:lnTo>
                      <a:lnTo>
                        <a:pt x="1444" y="36"/>
                      </a:lnTo>
                      <a:lnTo>
                        <a:pt x="1444" y="36"/>
                      </a:lnTo>
                      <a:lnTo>
                        <a:pt x="1441" y="57"/>
                      </a:lnTo>
                      <a:lnTo>
                        <a:pt x="1436" y="98"/>
                      </a:lnTo>
                      <a:lnTo>
                        <a:pt x="1426" y="158"/>
                      </a:lnTo>
                      <a:lnTo>
                        <a:pt x="1414" y="234"/>
                      </a:lnTo>
                      <a:lnTo>
                        <a:pt x="1396" y="323"/>
                      </a:lnTo>
                      <a:lnTo>
                        <a:pt x="1386" y="371"/>
                      </a:lnTo>
                      <a:lnTo>
                        <a:pt x="1374" y="422"/>
                      </a:lnTo>
                      <a:lnTo>
                        <a:pt x="1361" y="475"/>
                      </a:lnTo>
                      <a:lnTo>
                        <a:pt x="1347" y="530"/>
                      </a:lnTo>
                      <a:lnTo>
                        <a:pt x="1330" y="585"/>
                      </a:lnTo>
                      <a:lnTo>
                        <a:pt x="1314" y="641"/>
                      </a:lnTo>
                      <a:lnTo>
                        <a:pt x="1295" y="699"/>
                      </a:lnTo>
                      <a:lnTo>
                        <a:pt x="1274" y="756"/>
                      </a:lnTo>
                      <a:lnTo>
                        <a:pt x="1253" y="814"/>
                      </a:lnTo>
                      <a:lnTo>
                        <a:pt x="1229" y="871"/>
                      </a:lnTo>
                      <a:lnTo>
                        <a:pt x="1204" y="927"/>
                      </a:lnTo>
                      <a:lnTo>
                        <a:pt x="1177" y="982"/>
                      </a:lnTo>
                      <a:lnTo>
                        <a:pt x="1148" y="1036"/>
                      </a:lnTo>
                      <a:lnTo>
                        <a:pt x="1134" y="1061"/>
                      </a:lnTo>
                      <a:lnTo>
                        <a:pt x="1118" y="1087"/>
                      </a:lnTo>
                      <a:lnTo>
                        <a:pt x="1101" y="1112"/>
                      </a:lnTo>
                      <a:lnTo>
                        <a:pt x="1085" y="1136"/>
                      </a:lnTo>
                      <a:lnTo>
                        <a:pt x="1068" y="1161"/>
                      </a:lnTo>
                      <a:lnTo>
                        <a:pt x="1051" y="1183"/>
                      </a:lnTo>
                      <a:lnTo>
                        <a:pt x="1033" y="1206"/>
                      </a:lnTo>
                      <a:lnTo>
                        <a:pt x="1015" y="1228"/>
                      </a:lnTo>
                      <a:lnTo>
                        <a:pt x="995" y="1249"/>
                      </a:lnTo>
                      <a:lnTo>
                        <a:pt x="976" y="1268"/>
                      </a:lnTo>
                      <a:lnTo>
                        <a:pt x="956" y="1288"/>
                      </a:lnTo>
                      <a:lnTo>
                        <a:pt x="935" y="1307"/>
                      </a:lnTo>
                      <a:lnTo>
                        <a:pt x="914" y="1324"/>
                      </a:lnTo>
                      <a:lnTo>
                        <a:pt x="892" y="1340"/>
                      </a:lnTo>
                      <a:lnTo>
                        <a:pt x="871" y="1355"/>
                      </a:lnTo>
                      <a:lnTo>
                        <a:pt x="848" y="1370"/>
                      </a:lnTo>
                      <a:lnTo>
                        <a:pt x="824" y="1383"/>
                      </a:lnTo>
                      <a:lnTo>
                        <a:pt x="800" y="1395"/>
                      </a:lnTo>
                      <a:lnTo>
                        <a:pt x="800" y="1395"/>
                      </a:lnTo>
                      <a:lnTo>
                        <a:pt x="774" y="1406"/>
                      </a:lnTo>
                      <a:lnTo>
                        <a:pt x="749" y="1416"/>
                      </a:lnTo>
                      <a:lnTo>
                        <a:pt x="723" y="1425"/>
                      </a:lnTo>
                      <a:lnTo>
                        <a:pt x="696" y="1431"/>
                      </a:lnTo>
                      <a:lnTo>
                        <a:pt x="669" y="1436"/>
                      </a:lnTo>
                      <a:lnTo>
                        <a:pt x="641" y="1440"/>
                      </a:lnTo>
                      <a:lnTo>
                        <a:pt x="613" y="1442"/>
                      </a:lnTo>
                      <a:lnTo>
                        <a:pt x="585" y="1443"/>
                      </a:lnTo>
                      <a:lnTo>
                        <a:pt x="585" y="1443"/>
                      </a:lnTo>
                      <a:close/>
                      <a:moveTo>
                        <a:pt x="201" y="1242"/>
                      </a:moveTo>
                      <a:lnTo>
                        <a:pt x="201" y="1242"/>
                      </a:lnTo>
                      <a:lnTo>
                        <a:pt x="241" y="1267"/>
                      </a:lnTo>
                      <a:lnTo>
                        <a:pt x="281" y="1289"/>
                      </a:lnTo>
                      <a:lnTo>
                        <a:pt x="319" y="1309"/>
                      </a:lnTo>
                      <a:lnTo>
                        <a:pt x="357" y="1326"/>
                      </a:lnTo>
                      <a:lnTo>
                        <a:pt x="396" y="1341"/>
                      </a:lnTo>
                      <a:lnTo>
                        <a:pt x="433" y="1353"/>
                      </a:lnTo>
                      <a:lnTo>
                        <a:pt x="469" y="1362"/>
                      </a:lnTo>
                      <a:lnTo>
                        <a:pt x="505" y="1370"/>
                      </a:lnTo>
                      <a:lnTo>
                        <a:pt x="541" y="1375"/>
                      </a:lnTo>
                      <a:lnTo>
                        <a:pt x="558" y="1376"/>
                      </a:lnTo>
                      <a:lnTo>
                        <a:pt x="576" y="1377"/>
                      </a:lnTo>
                      <a:lnTo>
                        <a:pt x="593" y="1377"/>
                      </a:lnTo>
                      <a:lnTo>
                        <a:pt x="610" y="1376"/>
                      </a:lnTo>
                      <a:lnTo>
                        <a:pt x="626" y="1375"/>
                      </a:lnTo>
                      <a:lnTo>
                        <a:pt x="644" y="1373"/>
                      </a:lnTo>
                      <a:lnTo>
                        <a:pt x="661" y="1371"/>
                      </a:lnTo>
                      <a:lnTo>
                        <a:pt x="677" y="1368"/>
                      </a:lnTo>
                      <a:lnTo>
                        <a:pt x="693" y="1364"/>
                      </a:lnTo>
                      <a:lnTo>
                        <a:pt x="709" y="1359"/>
                      </a:lnTo>
                      <a:lnTo>
                        <a:pt x="726" y="1354"/>
                      </a:lnTo>
                      <a:lnTo>
                        <a:pt x="741" y="1348"/>
                      </a:lnTo>
                      <a:lnTo>
                        <a:pt x="757" y="1342"/>
                      </a:lnTo>
                      <a:lnTo>
                        <a:pt x="772" y="1336"/>
                      </a:lnTo>
                      <a:lnTo>
                        <a:pt x="772" y="1336"/>
                      </a:lnTo>
                      <a:lnTo>
                        <a:pt x="792" y="1325"/>
                      </a:lnTo>
                      <a:lnTo>
                        <a:pt x="812" y="1315"/>
                      </a:lnTo>
                      <a:lnTo>
                        <a:pt x="830" y="1302"/>
                      </a:lnTo>
                      <a:lnTo>
                        <a:pt x="849" y="1290"/>
                      </a:lnTo>
                      <a:lnTo>
                        <a:pt x="868" y="1277"/>
                      </a:lnTo>
                      <a:lnTo>
                        <a:pt x="885" y="1262"/>
                      </a:lnTo>
                      <a:lnTo>
                        <a:pt x="903" y="1248"/>
                      </a:lnTo>
                      <a:lnTo>
                        <a:pt x="919" y="1231"/>
                      </a:lnTo>
                      <a:lnTo>
                        <a:pt x="936" y="1215"/>
                      </a:lnTo>
                      <a:lnTo>
                        <a:pt x="952" y="1198"/>
                      </a:lnTo>
                      <a:lnTo>
                        <a:pt x="968" y="1179"/>
                      </a:lnTo>
                      <a:lnTo>
                        <a:pt x="983" y="1161"/>
                      </a:lnTo>
                      <a:lnTo>
                        <a:pt x="999" y="1142"/>
                      </a:lnTo>
                      <a:lnTo>
                        <a:pt x="1013" y="1122"/>
                      </a:lnTo>
                      <a:lnTo>
                        <a:pt x="1042" y="1081"/>
                      </a:lnTo>
                      <a:lnTo>
                        <a:pt x="1069" y="1039"/>
                      </a:lnTo>
                      <a:lnTo>
                        <a:pt x="1095" y="993"/>
                      </a:lnTo>
                      <a:lnTo>
                        <a:pt x="1119" y="948"/>
                      </a:lnTo>
                      <a:lnTo>
                        <a:pt x="1142" y="900"/>
                      </a:lnTo>
                      <a:lnTo>
                        <a:pt x="1165" y="851"/>
                      </a:lnTo>
                      <a:lnTo>
                        <a:pt x="1184" y="803"/>
                      </a:lnTo>
                      <a:lnTo>
                        <a:pt x="1204" y="753"/>
                      </a:lnTo>
                      <a:lnTo>
                        <a:pt x="1221" y="703"/>
                      </a:lnTo>
                      <a:lnTo>
                        <a:pt x="1239" y="654"/>
                      </a:lnTo>
                      <a:lnTo>
                        <a:pt x="1255" y="604"/>
                      </a:lnTo>
                      <a:lnTo>
                        <a:pt x="1269" y="554"/>
                      </a:lnTo>
                      <a:lnTo>
                        <a:pt x="1283" y="507"/>
                      </a:lnTo>
                      <a:lnTo>
                        <a:pt x="1295" y="459"/>
                      </a:lnTo>
                      <a:lnTo>
                        <a:pt x="1306" y="413"/>
                      </a:lnTo>
                      <a:lnTo>
                        <a:pt x="1327" y="326"/>
                      </a:lnTo>
                      <a:lnTo>
                        <a:pt x="1344" y="245"/>
                      </a:lnTo>
                      <a:lnTo>
                        <a:pt x="1356" y="175"/>
                      </a:lnTo>
                      <a:lnTo>
                        <a:pt x="1365" y="117"/>
                      </a:lnTo>
                      <a:lnTo>
                        <a:pt x="1373" y="71"/>
                      </a:lnTo>
                      <a:lnTo>
                        <a:pt x="1373" y="71"/>
                      </a:lnTo>
                      <a:lnTo>
                        <a:pt x="1327" y="77"/>
                      </a:lnTo>
                      <a:lnTo>
                        <a:pt x="1269" y="88"/>
                      </a:lnTo>
                      <a:lnTo>
                        <a:pt x="1199" y="100"/>
                      </a:lnTo>
                      <a:lnTo>
                        <a:pt x="1118" y="117"/>
                      </a:lnTo>
                      <a:lnTo>
                        <a:pt x="1031" y="137"/>
                      </a:lnTo>
                      <a:lnTo>
                        <a:pt x="984" y="149"/>
                      </a:lnTo>
                      <a:lnTo>
                        <a:pt x="937" y="161"/>
                      </a:lnTo>
                      <a:lnTo>
                        <a:pt x="888" y="175"/>
                      </a:lnTo>
                      <a:lnTo>
                        <a:pt x="840" y="189"/>
                      </a:lnTo>
                      <a:lnTo>
                        <a:pt x="790" y="205"/>
                      </a:lnTo>
                      <a:lnTo>
                        <a:pt x="740" y="222"/>
                      </a:lnTo>
                      <a:lnTo>
                        <a:pt x="691" y="240"/>
                      </a:lnTo>
                      <a:lnTo>
                        <a:pt x="641" y="259"/>
                      </a:lnTo>
                      <a:lnTo>
                        <a:pt x="592" y="279"/>
                      </a:lnTo>
                      <a:lnTo>
                        <a:pt x="544" y="301"/>
                      </a:lnTo>
                      <a:lnTo>
                        <a:pt x="496" y="325"/>
                      </a:lnTo>
                      <a:lnTo>
                        <a:pt x="449" y="348"/>
                      </a:lnTo>
                      <a:lnTo>
                        <a:pt x="405" y="374"/>
                      </a:lnTo>
                      <a:lnTo>
                        <a:pt x="363" y="401"/>
                      </a:lnTo>
                      <a:lnTo>
                        <a:pt x="321" y="430"/>
                      </a:lnTo>
                      <a:lnTo>
                        <a:pt x="301" y="445"/>
                      </a:lnTo>
                      <a:lnTo>
                        <a:pt x="282" y="460"/>
                      </a:lnTo>
                      <a:lnTo>
                        <a:pt x="264" y="476"/>
                      </a:lnTo>
                      <a:lnTo>
                        <a:pt x="246" y="491"/>
                      </a:lnTo>
                      <a:lnTo>
                        <a:pt x="229" y="508"/>
                      </a:lnTo>
                      <a:lnTo>
                        <a:pt x="212" y="524"/>
                      </a:lnTo>
                      <a:lnTo>
                        <a:pt x="196" y="541"/>
                      </a:lnTo>
                      <a:lnTo>
                        <a:pt x="181" y="559"/>
                      </a:lnTo>
                      <a:lnTo>
                        <a:pt x="167" y="576"/>
                      </a:lnTo>
                      <a:lnTo>
                        <a:pt x="153" y="595"/>
                      </a:lnTo>
                      <a:lnTo>
                        <a:pt x="141" y="613"/>
                      </a:lnTo>
                      <a:lnTo>
                        <a:pt x="129" y="632"/>
                      </a:lnTo>
                      <a:lnTo>
                        <a:pt x="118" y="652"/>
                      </a:lnTo>
                      <a:lnTo>
                        <a:pt x="108" y="671"/>
                      </a:lnTo>
                      <a:lnTo>
                        <a:pt x="108" y="671"/>
                      </a:lnTo>
                      <a:lnTo>
                        <a:pt x="102" y="687"/>
                      </a:lnTo>
                      <a:lnTo>
                        <a:pt x="95" y="702"/>
                      </a:lnTo>
                      <a:lnTo>
                        <a:pt x="89" y="718"/>
                      </a:lnTo>
                      <a:lnTo>
                        <a:pt x="84" y="734"/>
                      </a:lnTo>
                      <a:lnTo>
                        <a:pt x="80" y="750"/>
                      </a:lnTo>
                      <a:lnTo>
                        <a:pt x="76" y="766"/>
                      </a:lnTo>
                      <a:lnTo>
                        <a:pt x="73" y="783"/>
                      </a:lnTo>
                      <a:lnTo>
                        <a:pt x="71" y="800"/>
                      </a:lnTo>
                      <a:lnTo>
                        <a:pt x="69" y="816"/>
                      </a:lnTo>
                      <a:lnTo>
                        <a:pt x="68" y="834"/>
                      </a:lnTo>
                      <a:lnTo>
                        <a:pt x="67" y="850"/>
                      </a:lnTo>
                      <a:lnTo>
                        <a:pt x="67" y="868"/>
                      </a:lnTo>
                      <a:lnTo>
                        <a:pt x="68" y="885"/>
                      </a:lnTo>
                      <a:lnTo>
                        <a:pt x="69" y="903"/>
                      </a:lnTo>
                      <a:lnTo>
                        <a:pt x="74" y="938"/>
                      </a:lnTo>
                      <a:lnTo>
                        <a:pt x="80" y="974"/>
                      </a:lnTo>
                      <a:lnTo>
                        <a:pt x="90" y="1011"/>
                      </a:lnTo>
                      <a:lnTo>
                        <a:pt x="103" y="1048"/>
                      </a:lnTo>
                      <a:lnTo>
                        <a:pt x="117" y="1086"/>
                      </a:lnTo>
                      <a:lnTo>
                        <a:pt x="134" y="1125"/>
                      </a:lnTo>
                      <a:lnTo>
                        <a:pt x="153" y="1163"/>
                      </a:lnTo>
                      <a:lnTo>
                        <a:pt x="176" y="1202"/>
                      </a:lnTo>
                      <a:lnTo>
                        <a:pt x="201" y="1242"/>
                      </a:lnTo>
                      <a:lnTo>
                        <a:pt x="201" y="1242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7">
                  <a:extLst>
                    <a:ext uri="{FF2B5EF4-FFF2-40B4-BE49-F238E27FC236}">
                      <a16:creationId xmlns:a16="http://schemas.microsoft.com/office/drawing/2014/main" id="{1428892E-67C7-47AB-A79D-80209A862D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5288" y="2709863"/>
                  <a:ext cx="90488" cy="88900"/>
                </a:xfrm>
                <a:custGeom>
                  <a:avLst/>
                  <a:gdLst>
                    <a:gd name="T0" fmla="*/ 363 w 397"/>
                    <a:gd name="T1" fmla="*/ 396 h 396"/>
                    <a:gd name="T2" fmla="*/ 33 w 397"/>
                    <a:gd name="T3" fmla="*/ 396 h 396"/>
                    <a:gd name="T4" fmla="*/ 33 w 397"/>
                    <a:gd name="T5" fmla="*/ 396 h 396"/>
                    <a:gd name="T6" fmla="*/ 26 w 397"/>
                    <a:gd name="T7" fmla="*/ 395 h 396"/>
                    <a:gd name="T8" fmla="*/ 20 w 397"/>
                    <a:gd name="T9" fmla="*/ 394 h 396"/>
                    <a:gd name="T10" fmla="*/ 15 w 397"/>
                    <a:gd name="T11" fmla="*/ 391 h 396"/>
                    <a:gd name="T12" fmla="*/ 10 w 397"/>
                    <a:gd name="T13" fmla="*/ 387 h 396"/>
                    <a:gd name="T14" fmla="*/ 5 w 397"/>
                    <a:gd name="T15" fmla="*/ 382 h 396"/>
                    <a:gd name="T16" fmla="*/ 2 w 397"/>
                    <a:gd name="T17" fmla="*/ 377 h 396"/>
                    <a:gd name="T18" fmla="*/ 0 w 397"/>
                    <a:gd name="T19" fmla="*/ 370 h 396"/>
                    <a:gd name="T20" fmla="*/ 0 w 397"/>
                    <a:gd name="T21" fmla="*/ 363 h 396"/>
                    <a:gd name="T22" fmla="*/ 0 w 397"/>
                    <a:gd name="T23" fmla="*/ 33 h 396"/>
                    <a:gd name="T24" fmla="*/ 0 w 397"/>
                    <a:gd name="T25" fmla="*/ 33 h 396"/>
                    <a:gd name="T26" fmla="*/ 0 w 397"/>
                    <a:gd name="T27" fmla="*/ 26 h 396"/>
                    <a:gd name="T28" fmla="*/ 2 w 397"/>
                    <a:gd name="T29" fmla="*/ 20 h 396"/>
                    <a:gd name="T30" fmla="*/ 5 w 397"/>
                    <a:gd name="T31" fmla="*/ 15 h 396"/>
                    <a:gd name="T32" fmla="*/ 10 w 397"/>
                    <a:gd name="T33" fmla="*/ 9 h 396"/>
                    <a:gd name="T34" fmla="*/ 15 w 397"/>
                    <a:gd name="T35" fmla="*/ 5 h 396"/>
                    <a:gd name="T36" fmla="*/ 20 w 397"/>
                    <a:gd name="T37" fmla="*/ 2 h 396"/>
                    <a:gd name="T38" fmla="*/ 26 w 397"/>
                    <a:gd name="T39" fmla="*/ 0 h 396"/>
                    <a:gd name="T40" fmla="*/ 33 w 397"/>
                    <a:gd name="T41" fmla="*/ 0 h 396"/>
                    <a:gd name="T42" fmla="*/ 33 w 397"/>
                    <a:gd name="T43" fmla="*/ 0 h 396"/>
                    <a:gd name="T44" fmla="*/ 40 w 397"/>
                    <a:gd name="T45" fmla="*/ 0 h 396"/>
                    <a:gd name="T46" fmla="*/ 46 w 397"/>
                    <a:gd name="T47" fmla="*/ 2 h 396"/>
                    <a:gd name="T48" fmla="*/ 52 w 397"/>
                    <a:gd name="T49" fmla="*/ 5 h 396"/>
                    <a:gd name="T50" fmla="*/ 56 w 397"/>
                    <a:gd name="T51" fmla="*/ 9 h 396"/>
                    <a:gd name="T52" fmla="*/ 60 w 397"/>
                    <a:gd name="T53" fmla="*/ 15 h 396"/>
                    <a:gd name="T54" fmla="*/ 63 w 397"/>
                    <a:gd name="T55" fmla="*/ 20 h 396"/>
                    <a:gd name="T56" fmla="*/ 65 w 397"/>
                    <a:gd name="T57" fmla="*/ 26 h 396"/>
                    <a:gd name="T58" fmla="*/ 66 w 397"/>
                    <a:gd name="T59" fmla="*/ 33 h 396"/>
                    <a:gd name="T60" fmla="*/ 66 w 397"/>
                    <a:gd name="T61" fmla="*/ 330 h 396"/>
                    <a:gd name="T62" fmla="*/ 363 w 397"/>
                    <a:gd name="T63" fmla="*/ 330 h 396"/>
                    <a:gd name="T64" fmla="*/ 363 w 397"/>
                    <a:gd name="T65" fmla="*/ 330 h 396"/>
                    <a:gd name="T66" fmla="*/ 371 w 397"/>
                    <a:gd name="T67" fmla="*/ 331 h 396"/>
                    <a:gd name="T68" fmla="*/ 377 w 397"/>
                    <a:gd name="T69" fmla="*/ 333 h 396"/>
                    <a:gd name="T70" fmla="*/ 382 w 397"/>
                    <a:gd name="T71" fmla="*/ 336 h 396"/>
                    <a:gd name="T72" fmla="*/ 387 w 397"/>
                    <a:gd name="T73" fmla="*/ 340 h 396"/>
                    <a:gd name="T74" fmla="*/ 391 w 397"/>
                    <a:gd name="T75" fmla="*/ 345 h 396"/>
                    <a:gd name="T76" fmla="*/ 395 w 397"/>
                    <a:gd name="T77" fmla="*/ 351 h 396"/>
                    <a:gd name="T78" fmla="*/ 396 w 397"/>
                    <a:gd name="T79" fmla="*/ 357 h 396"/>
                    <a:gd name="T80" fmla="*/ 397 w 397"/>
                    <a:gd name="T81" fmla="*/ 363 h 396"/>
                    <a:gd name="T82" fmla="*/ 397 w 397"/>
                    <a:gd name="T83" fmla="*/ 363 h 396"/>
                    <a:gd name="T84" fmla="*/ 396 w 397"/>
                    <a:gd name="T85" fmla="*/ 370 h 396"/>
                    <a:gd name="T86" fmla="*/ 395 w 397"/>
                    <a:gd name="T87" fmla="*/ 377 h 396"/>
                    <a:gd name="T88" fmla="*/ 391 w 397"/>
                    <a:gd name="T89" fmla="*/ 382 h 396"/>
                    <a:gd name="T90" fmla="*/ 387 w 397"/>
                    <a:gd name="T91" fmla="*/ 387 h 396"/>
                    <a:gd name="T92" fmla="*/ 382 w 397"/>
                    <a:gd name="T93" fmla="*/ 391 h 396"/>
                    <a:gd name="T94" fmla="*/ 377 w 397"/>
                    <a:gd name="T95" fmla="*/ 394 h 396"/>
                    <a:gd name="T96" fmla="*/ 371 w 397"/>
                    <a:gd name="T97" fmla="*/ 395 h 396"/>
                    <a:gd name="T98" fmla="*/ 363 w 397"/>
                    <a:gd name="T99" fmla="*/ 396 h 396"/>
                    <a:gd name="T100" fmla="*/ 363 w 397"/>
                    <a:gd name="T101" fmla="*/ 396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97" h="396">
                      <a:moveTo>
                        <a:pt x="363" y="396"/>
                      </a:moveTo>
                      <a:lnTo>
                        <a:pt x="33" y="396"/>
                      </a:lnTo>
                      <a:lnTo>
                        <a:pt x="33" y="396"/>
                      </a:lnTo>
                      <a:lnTo>
                        <a:pt x="26" y="395"/>
                      </a:lnTo>
                      <a:lnTo>
                        <a:pt x="20" y="394"/>
                      </a:lnTo>
                      <a:lnTo>
                        <a:pt x="15" y="391"/>
                      </a:lnTo>
                      <a:lnTo>
                        <a:pt x="10" y="387"/>
                      </a:lnTo>
                      <a:lnTo>
                        <a:pt x="5" y="382"/>
                      </a:lnTo>
                      <a:lnTo>
                        <a:pt x="2" y="377"/>
                      </a:lnTo>
                      <a:lnTo>
                        <a:pt x="0" y="370"/>
                      </a:lnTo>
                      <a:lnTo>
                        <a:pt x="0" y="36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0" y="26"/>
                      </a:lnTo>
                      <a:lnTo>
                        <a:pt x="2" y="20"/>
                      </a:lnTo>
                      <a:lnTo>
                        <a:pt x="5" y="15"/>
                      </a:lnTo>
                      <a:lnTo>
                        <a:pt x="10" y="9"/>
                      </a:lnTo>
                      <a:lnTo>
                        <a:pt x="15" y="5"/>
                      </a:lnTo>
                      <a:lnTo>
                        <a:pt x="20" y="2"/>
                      </a:lnTo>
                      <a:lnTo>
                        <a:pt x="26" y="0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40" y="0"/>
                      </a:lnTo>
                      <a:lnTo>
                        <a:pt x="46" y="2"/>
                      </a:lnTo>
                      <a:lnTo>
                        <a:pt x="52" y="5"/>
                      </a:lnTo>
                      <a:lnTo>
                        <a:pt x="56" y="9"/>
                      </a:lnTo>
                      <a:lnTo>
                        <a:pt x="60" y="15"/>
                      </a:lnTo>
                      <a:lnTo>
                        <a:pt x="63" y="20"/>
                      </a:lnTo>
                      <a:lnTo>
                        <a:pt x="65" y="26"/>
                      </a:lnTo>
                      <a:lnTo>
                        <a:pt x="66" y="33"/>
                      </a:lnTo>
                      <a:lnTo>
                        <a:pt x="66" y="330"/>
                      </a:lnTo>
                      <a:lnTo>
                        <a:pt x="363" y="330"/>
                      </a:lnTo>
                      <a:lnTo>
                        <a:pt x="363" y="330"/>
                      </a:lnTo>
                      <a:lnTo>
                        <a:pt x="371" y="331"/>
                      </a:lnTo>
                      <a:lnTo>
                        <a:pt x="377" y="333"/>
                      </a:lnTo>
                      <a:lnTo>
                        <a:pt x="382" y="336"/>
                      </a:lnTo>
                      <a:lnTo>
                        <a:pt x="387" y="340"/>
                      </a:lnTo>
                      <a:lnTo>
                        <a:pt x="391" y="345"/>
                      </a:lnTo>
                      <a:lnTo>
                        <a:pt x="395" y="351"/>
                      </a:lnTo>
                      <a:lnTo>
                        <a:pt x="396" y="357"/>
                      </a:lnTo>
                      <a:lnTo>
                        <a:pt x="397" y="363"/>
                      </a:lnTo>
                      <a:lnTo>
                        <a:pt x="397" y="363"/>
                      </a:lnTo>
                      <a:lnTo>
                        <a:pt x="396" y="370"/>
                      </a:lnTo>
                      <a:lnTo>
                        <a:pt x="395" y="377"/>
                      </a:lnTo>
                      <a:lnTo>
                        <a:pt x="391" y="382"/>
                      </a:lnTo>
                      <a:lnTo>
                        <a:pt x="387" y="387"/>
                      </a:lnTo>
                      <a:lnTo>
                        <a:pt x="382" y="391"/>
                      </a:lnTo>
                      <a:lnTo>
                        <a:pt x="377" y="394"/>
                      </a:lnTo>
                      <a:lnTo>
                        <a:pt x="371" y="395"/>
                      </a:lnTo>
                      <a:lnTo>
                        <a:pt x="363" y="396"/>
                      </a:lnTo>
                      <a:lnTo>
                        <a:pt x="363" y="39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8">
                  <a:extLst>
                    <a:ext uri="{FF2B5EF4-FFF2-40B4-BE49-F238E27FC236}">
                      <a16:creationId xmlns:a16="http://schemas.microsoft.com/office/drawing/2014/main" id="{3DBFF15E-E498-44C0-96E4-A04B96E78F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5613" y="2671763"/>
                  <a:ext cx="68263" cy="68263"/>
                </a:xfrm>
                <a:custGeom>
                  <a:avLst/>
                  <a:gdLst>
                    <a:gd name="T0" fmla="*/ 265 w 298"/>
                    <a:gd name="T1" fmla="*/ 298 h 298"/>
                    <a:gd name="T2" fmla="*/ 33 w 298"/>
                    <a:gd name="T3" fmla="*/ 298 h 298"/>
                    <a:gd name="T4" fmla="*/ 33 w 298"/>
                    <a:gd name="T5" fmla="*/ 298 h 298"/>
                    <a:gd name="T6" fmla="*/ 27 w 298"/>
                    <a:gd name="T7" fmla="*/ 296 h 298"/>
                    <a:gd name="T8" fmla="*/ 21 w 298"/>
                    <a:gd name="T9" fmla="*/ 294 h 298"/>
                    <a:gd name="T10" fmla="*/ 15 w 298"/>
                    <a:gd name="T11" fmla="*/ 291 h 298"/>
                    <a:gd name="T12" fmla="*/ 10 w 298"/>
                    <a:gd name="T13" fmla="*/ 287 h 298"/>
                    <a:gd name="T14" fmla="*/ 6 w 298"/>
                    <a:gd name="T15" fmla="*/ 282 h 298"/>
                    <a:gd name="T16" fmla="*/ 3 w 298"/>
                    <a:gd name="T17" fmla="*/ 277 h 298"/>
                    <a:gd name="T18" fmla="*/ 1 w 298"/>
                    <a:gd name="T19" fmla="*/ 271 h 298"/>
                    <a:gd name="T20" fmla="*/ 0 w 298"/>
                    <a:gd name="T21" fmla="*/ 264 h 298"/>
                    <a:gd name="T22" fmla="*/ 0 w 298"/>
                    <a:gd name="T23" fmla="*/ 33 h 298"/>
                    <a:gd name="T24" fmla="*/ 0 w 298"/>
                    <a:gd name="T25" fmla="*/ 33 h 298"/>
                    <a:gd name="T26" fmla="*/ 1 w 298"/>
                    <a:gd name="T27" fmla="*/ 26 h 298"/>
                    <a:gd name="T28" fmla="*/ 3 w 298"/>
                    <a:gd name="T29" fmla="*/ 20 h 298"/>
                    <a:gd name="T30" fmla="*/ 6 w 298"/>
                    <a:gd name="T31" fmla="*/ 14 h 298"/>
                    <a:gd name="T32" fmla="*/ 10 w 298"/>
                    <a:gd name="T33" fmla="*/ 9 h 298"/>
                    <a:gd name="T34" fmla="*/ 15 w 298"/>
                    <a:gd name="T35" fmla="*/ 6 h 298"/>
                    <a:gd name="T36" fmla="*/ 21 w 298"/>
                    <a:gd name="T37" fmla="*/ 3 h 298"/>
                    <a:gd name="T38" fmla="*/ 27 w 298"/>
                    <a:gd name="T39" fmla="*/ 1 h 298"/>
                    <a:gd name="T40" fmla="*/ 33 w 298"/>
                    <a:gd name="T41" fmla="*/ 0 h 298"/>
                    <a:gd name="T42" fmla="*/ 33 w 298"/>
                    <a:gd name="T43" fmla="*/ 0 h 298"/>
                    <a:gd name="T44" fmla="*/ 40 w 298"/>
                    <a:gd name="T45" fmla="*/ 1 h 298"/>
                    <a:gd name="T46" fmla="*/ 47 w 298"/>
                    <a:gd name="T47" fmla="*/ 3 h 298"/>
                    <a:gd name="T48" fmla="*/ 52 w 298"/>
                    <a:gd name="T49" fmla="*/ 6 h 298"/>
                    <a:gd name="T50" fmla="*/ 57 w 298"/>
                    <a:gd name="T51" fmla="*/ 9 h 298"/>
                    <a:gd name="T52" fmla="*/ 61 w 298"/>
                    <a:gd name="T53" fmla="*/ 14 h 298"/>
                    <a:gd name="T54" fmla="*/ 64 w 298"/>
                    <a:gd name="T55" fmla="*/ 20 h 298"/>
                    <a:gd name="T56" fmla="*/ 66 w 298"/>
                    <a:gd name="T57" fmla="*/ 26 h 298"/>
                    <a:gd name="T58" fmla="*/ 66 w 298"/>
                    <a:gd name="T59" fmla="*/ 33 h 298"/>
                    <a:gd name="T60" fmla="*/ 66 w 298"/>
                    <a:gd name="T61" fmla="*/ 231 h 298"/>
                    <a:gd name="T62" fmla="*/ 265 w 298"/>
                    <a:gd name="T63" fmla="*/ 231 h 298"/>
                    <a:gd name="T64" fmla="*/ 265 w 298"/>
                    <a:gd name="T65" fmla="*/ 231 h 298"/>
                    <a:gd name="T66" fmla="*/ 271 w 298"/>
                    <a:gd name="T67" fmla="*/ 231 h 298"/>
                    <a:gd name="T68" fmla="*/ 277 w 298"/>
                    <a:gd name="T69" fmla="*/ 233 h 298"/>
                    <a:gd name="T70" fmla="*/ 284 w 298"/>
                    <a:gd name="T71" fmla="*/ 236 h 298"/>
                    <a:gd name="T72" fmla="*/ 289 w 298"/>
                    <a:gd name="T73" fmla="*/ 241 h 298"/>
                    <a:gd name="T74" fmla="*/ 292 w 298"/>
                    <a:gd name="T75" fmla="*/ 246 h 298"/>
                    <a:gd name="T76" fmla="*/ 295 w 298"/>
                    <a:gd name="T77" fmla="*/ 251 h 298"/>
                    <a:gd name="T78" fmla="*/ 297 w 298"/>
                    <a:gd name="T79" fmla="*/ 257 h 298"/>
                    <a:gd name="T80" fmla="*/ 298 w 298"/>
                    <a:gd name="T81" fmla="*/ 264 h 298"/>
                    <a:gd name="T82" fmla="*/ 298 w 298"/>
                    <a:gd name="T83" fmla="*/ 264 h 298"/>
                    <a:gd name="T84" fmla="*/ 297 w 298"/>
                    <a:gd name="T85" fmla="*/ 271 h 298"/>
                    <a:gd name="T86" fmla="*/ 295 w 298"/>
                    <a:gd name="T87" fmla="*/ 277 h 298"/>
                    <a:gd name="T88" fmla="*/ 292 w 298"/>
                    <a:gd name="T89" fmla="*/ 282 h 298"/>
                    <a:gd name="T90" fmla="*/ 289 w 298"/>
                    <a:gd name="T91" fmla="*/ 287 h 298"/>
                    <a:gd name="T92" fmla="*/ 284 w 298"/>
                    <a:gd name="T93" fmla="*/ 291 h 298"/>
                    <a:gd name="T94" fmla="*/ 277 w 298"/>
                    <a:gd name="T95" fmla="*/ 294 h 298"/>
                    <a:gd name="T96" fmla="*/ 271 w 298"/>
                    <a:gd name="T97" fmla="*/ 296 h 298"/>
                    <a:gd name="T98" fmla="*/ 265 w 298"/>
                    <a:gd name="T99" fmla="*/ 298 h 298"/>
                    <a:gd name="T100" fmla="*/ 265 w 298"/>
                    <a:gd name="T101" fmla="*/ 298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98" h="298">
                      <a:moveTo>
                        <a:pt x="265" y="298"/>
                      </a:moveTo>
                      <a:lnTo>
                        <a:pt x="33" y="298"/>
                      </a:lnTo>
                      <a:lnTo>
                        <a:pt x="33" y="298"/>
                      </a:lnTo>
                      <a:lnTo>
                        <a:pt x="27" y="296"/>
                      </a:lnTo>
                      <a:lnTo>
                        <a:pt x="21" y="294"/>
                      </a:lnTo>
                      <a:lnTo>
                        <a:pt x="15" y="291"/>
                      </a:lnTo>
                      <a:lnTo>
                        <a:pt x="10" y="287"/>
                      </a:lnTo>
                      <a:lnTo>
                        <a:pt x="6" y="282"/>
                      </a:lnTo>
                      <a:lnTo>
                        <a:pt x="3" y="277"/>
                      </a:lnTo>
                      <a:lnTo>
                        <a:pt x="1" y="271"/>
                      </a:lnTo>
                      <a:lnTo>
                        <a:pt x="0" y="264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26"/>
                      </a:lnTo>
                      <a:lnTo>
                        <a:pt x="3" y="20"/>
                      </a:lnTo>
                      <a:lnTo>
                        <a:pt x="6" y="14"/>
                      </a:lnTo>
                      <a:lnTo>
                        <a:pt x="10" y="9"/>
                      </a:lnTo>
                      <a:lnTo>
                        <a:pt x="15" y="6"/>
                      </a:lnTo>
                      <a:lnTo>
                        <a:pt x="21" y="3"/>
                      </a:lnTo>
                      <a:lnTo>
                        <a:pt x="27" y="1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40" y="1"/>
                      </a:lnTo>
                      <a:lnTo>
                        <a:pt x="47" y="3"/>
                      </a:lnTo>
                      <a:lnTo>
                        <a:pt x="52" y="6"/>
                      </a:lnTo>
                      <a:lnTo>
                        <a:pt x="57" y="9"/>
                      </a:lnTo>
                      <a:lnTo>
                        <a:pt x="61" y="14"/>
                      </a:lnTo>
                      <a:lnTo>
                        <a:pt x="64" y="20"/>
                      </a:lnTo>
                      <a:lnTo>
                        <a:pt x="66" y="26"/>
                      </a:lnTo>
                      <a:lnTo>
                        <a:pt x="66" y="33"/>
                      </a:lnTo>
                      <a:lnTo>
                        <a:pt x="66" y="231"/>
                      </a:lnTo>
                      <a:lnTo>
                        <a:pt x="265" y="231"/>
                      </a:lnTo>
                      <a:lnTo>
                        <a:pt x="265" y="231"/>
                      </a:lnTo>
                      <a:lnTo>
                        <a:pt x="271" y="231"/>
                      </a:lnTo>
                      <a:lnTo>
                        <a:pt x="277" y="233"/>
                      </a:lnTo>
                      <a:lnTo>
                        <a:pt x="284" y="236"/>
                      </a:lnTo>
                      <a:lnTo>
                        <a:pt x="289" y="241"/>
                      </a:lnTo>
                      <a:lnTo>
                        <a:pt x="292" y="246"/>
                      </a:lnTo>
                      <a:lnTo>
                        <a:pt x="295" y="251"/>
                      </a:lnTo>
                      <a:lnTo>
                        <a:pt x="297" y="257"/>
                      </a:lnTo>
                      <a:lnTo>
                        <a:pt x="298" y="264"/>
                      </a:lnTo>
                      <a:lnTo>
                        <a:pt x="298" y="264"/>
                      </a:lnTo>
                      <a:lnTo>
                        <a:pt x="297" y="271"/>
                      </a:lnTo>
                      <a:lnTo>
                        <a:pt x="295" y="277"/>
                      </a:lnTo>
                      <a:lnTo>
                        <a:pt x="292" y="282"/>
                      </a:lnTo>
                      <a:lnTo>
                        <a:pt x="289" y="287"/>
                      </a:lnTo>
                      <a:lnTo>
                        <a:pt x="284" y="291"/>
                      </a:lnTo>
                      <a:lnTo>
                        <a:pt x="277" y="294"/>
                      </a:lnTo>
                      <a:lnTo>
                        <a:pt x="271" y="296"/>
                      </a:lnTo>
                      <a:lnTo>
                        <a:pt x="265" y="298"/>
                      </a:lnTo>
                      <a:lnTo>
                        <a:pt x="265" y="298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9">
                  <a:extLst>
                    <a:ext uri="{FF2B5EF4-FFF2-40B4-BE49-F238E27FC236}">
                      <a16:creationId xmlns:a16="http://schemas.microsoft.com/office/drawing/2014/main" id="{37113AAC-B846-4343-B53B-6B33A5D1D6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25938" y="2641600"/>
                  <a:ext cx="38100" cy="38100"/>
                </a:xfrm>
                <a:custGeom>
                  <a:avLst/>
                  <a:gdLst>
                    <a:gd name="T0" fmla="*/ 133 w 166"/>
                    <a:gd name="T1" fmla="*/ 166 h 166"/>
                    <a:gd name="T2" fmla="*/ 33 w 166"/>
                    <a:gd name="T3" fmla="*/ 166 h 166"/>
                    <a:gd name="T4" fmla="*/ 33 w 166"/>
                    <a:gd name="T5" fmla="*/ 166 h 166"/>
                    <a:gd name="T6" fmla="*/ 26 w 166"/>
                    <a:gd name="T7" fmla="*/ 165 h 166"/>
                    <a:gd name="T8" fmla="*/ 20 w 166"/>
                    <a:gd name="T9" fmla="*/ 164 h 166"/>
                    <a:gd name="T10" fmla="*/ 15 w 166"/>
                    <a:gd name="T11" fmla="*/ 160 h 166"/>
                    <a:gd name="T12" fmla="*/ 9 w 166"/>
                    <a:gd name="T13" fmla="*/ 156 h 166"/>
                    <a:gd name="T14" fmla="*/ 5 w 166"/>
                    <a:gd name="T15" fmla="*/ 151 h 166"/>
                    <a:gd name="T16" fmla="*/ 2 w 166"/>
                    <a:gd name="T17" fmla="*/ 146 h 166"/>
                    <a:gd name="T18" fmla="*/ 1 w 166"/>
                    <a:gd name="T19" fmla="*/ 140 h 166"/>
                    <a:gd name="T20" fmla="*/ 0 w 166"/>
                    <a:gd name="T21" fmla="*/ 133 h 166"/>
                    <a:gd name="T22" fmla="*/ 0 w 166"/>
                    <a:gd name="T23" fmla="*/ 33 h 166"/>
                    <a:gd name="T24" fmla="*/ 0 w 166"/>
                    <a:gd name="T25" fmla="*/ 33 h 166"/>
                    <a:gd name="T26" fmla="*/ 1 w 166"/>
                    <a:gd name="T27" fmla="*/ 27 h 166"/>
                    <a:gd name="T28" fmla="*/ 2 w 166"/>
                    <a:gd name="T29" fmla="*/ 21 h 166"/>
                    <a:gd name="T30" fmla="*/ 5 w 166"/>
                    <a:gd name="T31" fmla="*/ 15 h 166"/>
                    <a:gd name="T32" fmla="*/ 9 w 166"/>
                    <a:gd name="T33" fmla="*/ 10 h 166"/>
                    <a:gd name="T34" fmla="*/ 15 w 166"/>
                    <a:gd name="T35" fmla="*/ 6 h 166"/>
                    <a:gd name="T36" fmla="*/ 20 w 166"/>
                    <a:gd name="T37" fmla="*/ 3 h 166"/>
                    <a:gd name="T38" fmla="*/ 26 w 166"/>
                    <a:gd name="T39" fmla="*/ 1 h 166"/>
                    <a:gd name="T40" fmla="*/ 33 w 166"/>
                    <a:gd name="T41" fmla="*/ 0 h 166"/>
                    <a:gd name="T42" fmla="*/ 33 w 166"/>
                    <a:gd name="T43" fmla="*/ 0 h 166"/>
                    <a:gd name="T44" fmla="*/ 39 w 166"/>
                    <a:gd name="T45" fmla="*/ 1 h 166"/>
                    <a:gd name="T46" fmla="*/ 46 w 166"/>
                    <a:gd name="T47" fmla="*/ 3 h 166"/>
                    <a:gd name="T48" fmla="*/ 52 w 166"/>
                    <a:gd name="T49" fmla="*/ 6 h 166"/>
                    <a:gd name="T50" fmla="*/ 56 w 166"/>
                    <a:gd name="T51" fmla="*/ 10 h 166"/>
                    <a:gd name="T52" fmla="*/ 60 w 166"/>
                    <a:gd name="T53" fmla="*/ 15 h 166"/>
                    <a:gd name="T54" fmla="*/ 63 w 166"/>
                    <a:gd name="T55" fmla="*/ 21 h 166"/>
                    <a:gd name="T56" fmla="*/ 65 w 166"/>
                    <a:gd name="T57" fmla="*/ 27 h 166"/>
                    <a:gd name="T58" fmla="*/ 66 w 166"/>
                    <a:gd name="T59" fmla="*/ 33 h 166"/>
                    <a:gd name="T60" fmla="*/ 66 w 166"/>
                    <a:gd name="T61" fmla="*/ 99 h 166"/>
                    <a:gd name="T62" fmla="*/ 133 w 166"/>
                    <a:gd name="T63" fmla="*/ 99 h 166"/>
                    <a:gd name="T64" fmla="*/ 133 w 166"/>
                    <a:gd name="T65" fmla="*/ 99 h 166"/>
                    <a:gd name="T66" fmla="*/ 139 w 166"/>
                    <a:gd name="T67" fmla="*/ 100 h 166"/>
                    <a:gd name="T68" fmla="*/ 145 w 166"/>
                    <a:gd name="T69" fmla="*/ 103 h 166"/>
                    <a:gd name="T70" fmla="*/ 151 w 166"/>
                    <a:gd name="T71" fmla="*/ 106 h 166"/>
                    <a:gd name="T72" fmla="*/ 155 w 166"/>
                    <a:gd name="T73" fmla="*/ 109 h 166"/>
                    <a:gd name="T74" fmla="*/ 159 w 166"/>
                    <a:gd name="T75" fmla="*/ 114 h 166"/>
                    <a:gd name="T76" fmla="*/ 163 w 166"/>
                    <a:gd name="T77" fmla="*/ 120 h 166"/>
                    <a:gd name="T78" fmla="*/ 165 w 166"/>
                    <a:gd name="T79" fmla="*/ 126 h 166"/>
                    <a:gd name="T80" fmla="*/ 166 w 166"/>
                    <a:gd name="T81" fmla="*/ 133 h 166"/>
                    <a:gd name="T82" fmla="*/ 166 w 166"/>
                    <a:gd name="T83" fmla="*/ 133 h 166"/>
                    <a:gd name="T84" fmla="*/ 165 w 166"/>
                    <a:gd name="T85" fmla="*/ 140 h 166"/>
                    <a:gd name="T86" fmla="*/ 163 w 166"/>
                    <a:gd name="T87" fmla="*/ 146 h 166"/>
                    <a:gd name="T88" fmla="*/ 159 w 166"/>
                    <a:gd name="T89" fmla="*/ 151 h 166"/>
                    <a:gd name="T90" fmla="*/ 155 w 166"/>
                    <a:gd name="T91" fmla="*/ 156 h 166"/>
                    <a:gd name="T92" fmla="*/ 151 w 166"/>
                    <a:gd name="T93" fmla="*/ 160 h 166"/>
                    <a:gd name="T94" fmla="*/ 145 w 166"/>
                    <a:gd name="T95" fmla="*/ 164 h 166"/>
                    <a:gd name="T96" fmla="*/ 139 w 166"/>
                    <a:gd name="T97" fmla="*/ 165 h 166"/>
                    <a:gd name="T98" fmla="*/ 133 w 166"/>
                    <a:gd name="T99" fmla="*/ 166 h 166"/>
                    <a:gd name="T100" fmla="*/ 133 w 166"/>
                    <a:gd name="T101" fmla="*/ 166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66" h="166">
                      <a:moveTo>
                        <a:pt x="133" y="166"/>
                      </a:moveTo>
                      <a:lnTo>
                        <a:pt x="33" y="166"/>
                      </a:lnTo>
                      <a:lnTo>
                        <a:pt x="33" y="166"/>
                      </a:lnTo>
                      <a:lnTo>
                        <a:pt x="26" y="165"/>
                      </a:lnTo>
                      <a:lnTo>
                        <a:pt x="20" y="164"/>
                      </a:lnTo>
                      <a:lnTo>
                        <a:pt x="15" y="160"/>
                      </a:lnTo>
                      <a:lnTo>
                        <a:pt x="9" y="156"/>
                      </a:lnTo>
                      <a:lnTo>
                        <a:pt x="5" y="151"/>
                      </a:lnTo>
                      <a:lnTo>
                        <a:pt x="2" y="146"/>
                      </a:lnTo>
                      <a:lnTo>
                        <a:pt x="1" y="140"/>
                      </a:lnTo>
                      <a:lnTo>
                        <a:pt x="0" y="13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27"/>
                      </a:lnTo>
                      <a:lnTo>
                        <a:pt x="2" y="21"/>
                      </a:lnTo>
                      <a:lnTo>
                        <a:pt x="5" y="15"/>
                      </a:lnTo>
                      <a:lnTo>
                        <a:pt x="9" y="10"/>
                      </a:lnTo>
                      <a:lnTo>
                        <a:pt x="15" y="6"/>
                      </a:lnTo>
                      <a:lnTo>
                        <a:pt x="20" y="3"/>
                      </a:lnTo>
                      <a:lnTo>
                        <a:pt x="26" y="1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39" y="1"/>
                      </a:lnTo>
                      <a:lnTo>
                        <a:pt x="46" y="3"/>
                      </a:lnTo>
                      <a:lnTo>
                        <a:pt x="52" y="6"/>
                      </a:lnTo>
                      <a:lnTo>
                        <a:pt x="56" y="10"/>
                      </a:lnTo>
                      <a:lnTo>
                        <a:pt x="60" y="15"/>
                      </a:lnTo>
                      <a:lnTo>
                        <a:pt x="63" y="21"/>
                      </a:lnTo>
                      <a:lnTo>
                        <a:pt x="65" y="27"/>
                      </a:lnTo>
                      <a:lnTo>
                        <a:pt x="66" y="33"/>
                      </a:lnTo>
                      <a:lnTo>
                        <a:pt x="66" y="99"/>
                      </a:lnTo>
                      <a:lnTo>
                        <a:pt x="133" y="99"/>
                      </a:lnTo>
                      <a:lnTo>
                        <a:pt x="133" y="99"/>
                      </a:lnTo>
                      <a:lnTo>
                        <a:pt x="139" y="100"/>
                      </a:lnTo>
                      <a:lnTo>
                        <a:pt x="145" y="103"/>
                      </a:lnTo>
                      <a:lnTo>
                        <a:pt x="151" y="106"/>
                      </a:lnTo>
                      <a:lnTo>
                        <a:pt x="155" y="109"/>
                      </a:lnTo>
                      <a:lnTo>
                        <a:pt x="159" y="114"/>
                      </a:lnTo>
                      <a:lnTo>
                        <a:pt x="163" y="120"/>
                      </a:lnTo>
                      <a:lnTo>
                        <a:pt x="165" y="126"/>
                      </a:lnTo>
                      <a:lnTo>
                        <a:pt x="166" y="133"/>
                      </a:lnTo>
                      <a:lnTo>
                        <a:pt x="166" y="133"/>
                      </a:lnTo>
                      <a:lnTo>
                        <a:pt x="165" y="140"/>
                      </a:lnTo>
                      <a:lnTo>
                        <a:pt x="163" y="146"/>
                      </a:lnTo>
                      <a:lnTo>
                        <a:pt x="159" y="151"/>
                      </a:lnTo>
                      <a:lnTo>
                        <a:pt x="155" y="156"/>
                      </a:lnTo>
                      <a:lnTo>
                        <a:pt x="151" y="160"/>
                      </a:lnTo>
                      <a:lnTo>
                        <a:pt x="145" y="164"/>
                      </a:lnTo>
                      <a:lnTo>
                        <a:pt x="139" y="165"/>
                      </a:lnTo>
                      <a:lnTo>
                        <a:pt x="133" y="166"/>
                      </a:lnTo>
                      <a:lnTo>
                        <a:pt x="133" y="16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097302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 descr="A close up of a plant&#10;&#10;Description automatically generated">
            <a:extLst>
              <a:ext uri="{FF2B5EF4-FFF2-40B4-BE49-F238E27FC236}">
                <a16:creationId xmlns:a16="http://schemas.microsoft.com/office/drawing/2014/main" id="{F9B86230-4455-48E9-8BC3-8E85474D26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r="43660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A5EA120-AEB4-4952-9C5C-BEA0EE1A4E87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1F4B1B-80FB-4226-BBEB-6A8E9DDF9F89}"/>
              </a:ext>
            </a:extLst>
          </p:cNvPr>
          <p:cNvSpPr txBox="1"/>
          <p:nvPr/>
        </p:nvSpPr>
        <p:spPr>
          <a:xfrm>
            <a:off x="1134499" y="894266"/>
            <a:ext cx="6770987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LEARN </a:t>
            </a:r>
            <a:r>
              <a:rPr lang="en-US" sz="4400" b="1" dirty="0">
                <a:solidFill>
                  <a:srgbClr val="E1BE63"/>
                </a:solidFill>
              </a:rPr>
              <a:t>PROCES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616EC8C-F11F-41B5-BB5B-26CFC886E301}"/>
              </a:ext>
            </a:extLst>
          </p:cNvPr>
          <p:cNvCxnSpPr>
            <a:cxnSpLocks/>
          </p:cNvCxnSpPr>
          <p:nvPr/>
        </p:nvCxnSpPr>
        <p:spPr>
          <a:xfrm>
            <a:off x="1134499" y="670612"/>
            <a:ext cx="359817" cy="0"/>
          </a:xfrm>
          <a:prstGeom prst="line">
            <a:avLst/>
          </a:prstGeom>
          <a:ln w="34925">
            <a:solidFill>
              <a:srgbClr val="E1BE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160">
            <a:extLst>
              <a:ext uri="{FF2B5EF4-FFF2-40B4-BE49-F238E27FC236}">
                <a16:creationId xmlns:a16="http://schemas.microsoft.com/office/drawing/2014/main" id="{29AE3795-0AC8-4FB6-9B46-9D54AE88CBE7}"/>
              </a:ext>
            </a:extLst>
          </p:cNvPr>
          <p:cNvSpPr/>
          <p:nvPr/>
        </p:nvSpPr>
        <p:spPr>
          <a:xfrm rot="2700000">
            <a:off x="-2330344" y="2645895"/>
            <a:ext cx="6092370" cy="4082444"/>
          </a:xfrm>
          <a:custGeom>
            <a:avLst/>
            <a:gdLst>
              <a:gd name="connsiteX0" fmla="*/ 0 w 6092370"/>
              <a:gd name="connsiteY0" fmla="*/ 7388 h 4082444"/>
              <a:gd name="connsiteX1" fmla="*/ 73286 w 6092370"/>
              <a:gd name="connsiteY1" fmla="*/ 0 h 4082444"/>
              <a:gd name="connsiteX2" fmla="*/ 5681261 w 6092370"/>
              <a:gd name="connsiteY2" fmla="*/ 0 h 4082444"/>
              <a:gd name="connsiteX3" fmla="*/ 6092370 w 6092370"/>
              <a:gd name="connsiteY3" fmla="*/ 411109 h 4082444"/>
              <a:gd name="connsiteX4" fmla="*/ 6092370 w 6092370"/>
              <a:gd name="connsiteY4" fmla="*/ 2065129 h 4082444"/>
              <a:gd name="connsiteX5" fmla="*/ 4075056 w 6092370"/>
              <a:gd name="connsiteY5" fmla="*/ 4082444 h 408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2370" h="4082444">
                <a:moveTo>
                  <a:pt x="0" y="7388"/>
                </a:moveTo>
                <a:lnTo>
                  <a:pt x="73286" y="0"/>
                </a:lnTo>
                <a:lnTo>
                  <a:pt x="5681261" y="0"/>
                </a:lnTo>
                <a:cubicBezTo>
                  <a:pt x="5908310" y="0"/>
                  <a:pt x="6092370" y="184060"/>
                  <a:pt x="6092370" y="411109"/>
                </a:cubicBezTo>
                <a:lnTo>
                  <a:pt x="6092370" y="2065129"/>
                </a:lnTo>
                <a:lnTo>
                  <a:pt x="4075056" y="4082444"/>
                </a:lnTo>
                <a:close/>
              </a:path>
            </a:pathLst>
          </a:custGeom>
          <a:gradFill>
            <a:gsLst>
              <a:gs pos="0">
                <a:srgbClr val="30574C"/>
              </a:gs>
              <a:gs pos="100000">
                <a:srgbClr val="2A3E33"/>
              </a:gs>
            </a:gsLst>
            <a:lin ang="3600000" scaled="0"/>
          </a:gradFill>
          <a:ln>
            <a:noFill/>
          </a:ln>
          <a:effectLst>
            <a:outerShdw blurRad="457200" dist="304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55F600F-97D3-4CB3-A410-90C263801AF1}"/>
              </a:ext>
            </a:extLst>
          </p:cNvPr>
          <p:cNvGrpSpPr/>
          <p:nvPr/>
        </p:nvGrpSpPr>
        <p:grpSpPr>
          <a:xfrm>
            <a:off x="237728" y="3043521"/>
            <a:ext cx="2934631" cy="2724702"/>
            <a:chOff x="9436937" y="3691996"/>
            <a:chExt cx="2934631" cy="2724702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B01D8795-AA33-45EA-9D4F-2F310AB28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21867">
              <a:off x="10695155" y="3691996"/>
              <a:ext cx="921914" cy="1973219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9C7AACF2-B38E-44DB-9EC1-04FC20C7A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 flipH="1">
              <a:off x="9452181" y="4770314"/>
              <a:ext cx="1631140" cy="1661628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80AA6E45-F653-40EF-9372-CD302E7326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7932382" flipH="1">
              <a:off x="10496877" y="4041340"/>
              <a:ext cx="1173145" cy="2510941"/>
            </a:xfrm>
            <a:prstGeom prst="rect">
              <a:avLst/>
            </a:prstGeom>
          </p:spPr>
        </p:pic>
        <p:sp>
          <p:nvSpPr>
            <p:cNvPr id="17" name="Graphic 460">
              <a:extLst>
                <a:ext uri="{FF2B5EF4-FFF2-40B4-BE49-F238E27FC236}">
                  <a16:creationId xmlns:a16="http://schemas.microsoft.com/office/drawing/2014/main" id="{213D90EF-DB56-405B-B7E2-8B6C7DA05159}"/>
                </a:ext>
              </a:extLst>
            </p:cNvPr>
            <p:cNvSpPr/>
            <p:nvPr/>
          </p:nvSpPr>
          <p:spPr>
            <a:xfrm>
              <a:off x="10837193" y="3765957"/>
              <a:ext cx="1534375" cy="2650740"/>
            </a:xfrm>
            <a:custGeom>
              <a:avLst/>
              <a:gdLst>
                <a:gd name="connsiteX0" fmla="*/ 1004503 w 1345026"/>
                <a:gd name="connsiteY0" fmla="*/ 1498038 h 1920352"/>
                <a:gd name="connsiteX1" fmla="*/ 491009 w 1345026"/>
                <a:gd name="connsiteY1" fmla="*/ 967592 h 1920352"/>
                <a:gd name="connsiteX2" fmla="*/ 1004503 w 1345026"/>
                <a:gd name="connsiteY2" fmla="*/ 1488928 h 1920352"/>
                <a:gd name="connsiteX3" fmla="*/ 965758 w 1345026"/>
                <a:gd name="connsiteY3" fmla="*/ 1130761 h 1920352"/>
                <a:gd name="connsiteX4" fmla="*/ 556738 w 1345026"/>
                <a:gd name="connsiteY4" fmla="*/ 764984 h 1920352"/>
                <a:gd name="connsiteX5" fmla="*/ 961606 w 1345026"/>
                <a:gd name="connsiteY5" fmla="*/ 1112772 h 1920352"/>
                <a:gd name="connsiteX6" fmla="*/ 855517 w 1345026"/>
                <a:gd name="connsiteY6" fmla="*/ 809611 h 1920352"/>
                <a:gd name="connsiteX7" fmla="*/ 485473 w 1345026"/>
                <a:gd name="connsiteY7" fmla="*/ 539314 h 1920352"/>
                <a:gd name="connsiteX8" fmla="*/ 831071 w 1345026"/>
                <a:gd name="connsiteY8" fmla="*/ 760026 h 1920352"/>
                <a:gd name="connsiteX9" fmla="*/ 695807 w 1345026"/>
                <a:gd name="connsiteY9" fmla="*/ 543350 h 1920352"/>
                <a:gd name="connsiteX10" fmla="*/ 680239 w 1345026"/>
                <a:gd name="connsiteY10" fmla="*/ 547847 h 1920352"/>
                <a:gd name="connsiteX11" fmla="*/ 372350 w 1345026"/>
                <a:gd name="connsiteY11" fmla="*/ 368303 h 1920352"/>
                <a:gd name="connsiteX12" fmla="*/ 654870 w 1345026"/>
                <a:gd name="connsiteY12" fmla="*/ 490767 h 1920352"/>
                <a:gd name="connsiteX13" fmla="*/ 552240 w 1345026"/>
                <a:gd name="connsiteY13" fmla="*/ 376605 h 1920352"/>
                <a:gd name="connsiteX14" fmla="*/ 471636 w 1345026"/>
                <a:gd name="connsiteY14" fmla="*/ 364267 h 1920352"/>
                <a:gd name="connsiteX15" fmla="*/ 191307 w 1345026"/>
                <a:gd name="connsiteY15" fmla="*/ 241457 h 1920352"/>
                <a:gd name="connsiteX16" fmla="*/ 541286 w 1345026"/>
                <a:gd name="connsiteY16" fmla="*/ 365651 h 1920352"/>
                <a:gd name="connsiteX17" fmla="*/ 382728 w 1345026"/>
                <a:gd name="connsiteY17" fmla="*/ 227850 h 1920352"/>
                <a:gd name="connsiteX18" fmla="*/ 376501 w 1345026"/>
                <a:gd name="connsiteY18" fmla="*/ 228542 h 1920352"/>
                <a:gd name="connsiteX19" fmla="*/ 167552 w 1345026"/>
                <a:gd name="connsiteY19" fmla="*/ 145515 h 1920352"/>
                <a:gd name="connsiteX20" fmla="*/ 0 w 1345026"/>
                <a:gd name="connsiteY20" fmla="*/ 1834 h 1920352"/>
                <a:gd name="connsiteX21" fmla="*/ 395067 w 1345026"/>
                <a:gd name="connsiteY21" fmla="*/ 226697 h 1920352"/>
                <a:gd name="connsiteX22" fmla="*/ 394144 w 1345026"/>
                <a:gd name="connsiteY22" fmla="*/ 226812 h 1920352"/>
                <a:gd name="connsiteX23" fmla="*/ 538749 w 1345026"/>
                <a:gd name="connsiteY23" fmla="*/ 348815 h 1920352"/>
                <a:gd name="connsiteX24" fmla="*/ 401294 w 1345026"/>
                <a:gd name="connsiteY24" fmla="*/ 42194 h 1920352"/>
                <a:gd name="connsiteX25" fmla="*/ 558698 w 1345026"/>
                <a:gd name="connsiteY25" fmla="*/ 333363 h 1920352"/>
                <a:gd name="connsiteX26" fmla="*/ 549934 w 1345026"/>
                <a:gd name="connsiteY26" fmla="*/ 359654 h 1920352"/>
                <a:gd name="connsiteX27" fmla="*/ 709645 w 1345026"/>
                <a:gd name="connsiteY27" fmla="*/ 539429 h 1920352"/>
                <a:gd name="connsiteX28" fmla="*/ 709645 w 1345026"/>
                <a:gd name="connsiteY28" fmla="*/ 539429 h 1920352"/>
                <a:gd name="connsiteX29" fmla="*/ 709645 w 1345026"/>
                <a:gd name="connsiteY29" fmla="*/ 539429 h 1920352"/>
                <a:gd name="connsiteX30" fmla="*/ 731554 w 1345026"/>
                <a:gd name="connsiteY30" fmla="*/ 569065 h 1920352"/>
                <a:gd name="connsiteX31" fmla="*/ 703764 w 1345026"/>
                <a:gd name="connsiteY31" fmla="*/ 99274 h 1920352"/>
                <a:gd name="connsiteX32" fmla="*/ 735014 w 1345026"/>
                <a:gd name="connsiteY32" fmla="*/ 573793 h 1920352"/>
                <a:gd name="connsiteX33" fmla="*/ 877427 w 1345026"/>
                <a:gd name="connsiteY33" fmla="*/ 814915 h 1920352"/>
                <a:gd name="connsiteX34" fmla="*/ 923437 w 1345026"/>
                <a:gd name="connsiteY34" fmla="*/ 258985 h 1920352"/>
                <a:gd name="connsiteX35" fmla="*/ 967833 w 1345026"/>
                <a:gd name="connsiteY35" fmla="*/ 559955 h 1920352"/>
                <a:gd name="connsiteX36" fmla="*/ 883654 w 1345026"/>
                <a:gd name="connsiteY36" fmla="*/ 828638 h 1920352"/>
                <a:gd name="connsiteX37" fmla="*/ 986168 w 1345026"/>
                <a:gd name="connsiteY37" fmla="*/ 1123727 h 1920352"/>
                <a:gd name="connsiteX38" fmla="*/ 1188315 w 1345026"/>
                <a:gd name="connsiteY38" fmla="*/ 438414 h 1920352"/>
                <a:gd name="connsiteX39" fmla="*/ 989397 w 1345026"/>
                <a:gd name="connsiteY39" fmla="*/ 1137796 h 1920352"/>
                <a:gd name="connsiteX40" fmla="*/ 1029988 w 1345026"/>
                <a:gd name="connsiteY40" fmla="*/ 1491234 h 1920352"/>
                <a:gd name="connsiteX41" fmla="*/ 1135846 w 1345026"/>
                <a:gd name="connsiteY41" fmla="*/ 1106661 h 1920352"/>
                <a:gd name="connsiteX42" fmla="*/ 1345027 w 1345026"/>
                <a:gd name="connsiteY42" fmla="*/ 775593 h 1920352"/>
                <a:gd name="connsiteX43" fmla="*/ 1030103 w 1345026"/>
                <a:gd name="connsiteY43" fmla="*/ 1507839 h 1920352"/>
                <a:gd name="connsiteX44" fmla="*/ 979250 w 1345026"/>
                <a:gd name="connsiteY44" fmla="*/ 1907173 h 1920352"/>
                <a:gd name="connsiteX45" fmla="*/ 979250 w 1345026"/>
                <a:gd name="connsiteY45" fmla="*/ 1907404 h 1920352"/>
                <a:gd name="connsiteX46" fmla="*/ 960684 w 1345026"/>
                <a:gd name="connsiteY46" fmla="*/ 1920204 h 1920352"/>
                <a:gd name="connsiteX47" fmla="*/ 949960 w 1345026"/>
                <a:gd name="connsiteY47" fmla="*/ 1903137 h 1920352"/>
                <a:gd name="connsiteX48" fmla="*/ 1004503 w 1345026"/>
                <a:gd name="connsiteY48" fmla="*/ 1498038 h 1920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45026" h="1920352">
                  <a:moveTo>
                    <a:pt x="1004503" y="1498038"/>
                  </a:moveTo>
                  <a:cubicBezTo>
                    <a:pt x="760383" y="1317917"/>
                    <a:pt x="666517" y="1136527"/>
                    <a:pt x="491009" y="967592"/>
                  </a:cubicBezTo>
                  <a:cubicBezTo>
                    <a:pt x="788635" y="1063072"/>
                    <a:pt x="980749" y="1414089"/>
                    <a:pt x="1004503" y="1488928"/>
                  </a:cubicBezTo>
                  <a:cubicBezTo>
                    <a:pt x="1005080" y="1368540"/>
                    <a:pt x="992280" y="1248151"/>
                    <a:pt x="965758" y="1130761"/>
                  </a:cubicBezTo>
                  <a:cubicBezTo>
                    <a:pt x="822653" y="1008874"/>
                    <a:pt x="673436" y="939340"/>
                    <a:pt x="556738" y="764984"/>
                  </a:cubicBezTo>
                  <a:cubicBezTo>
                    <a:pt x="742855" y="810649"/>
                    <a:pt x="914674" y="1028939"/>
                    <a:pt x="961606" y="1112772"/>
                  </a:cubicBezTo>
                  <a:cubicBezTo>
                    <a:pt x="936814" y="1008528"/>
                    <a:pt x="901297" y="906821"/>
                    <a:pt x="855517" y="809611"/>
                  </a:cubicBezTo>
                  <a:cubicBezTo>
                    <a:pt x="715180" y="739730"/>
                    <a:pt x="590064" y="648286"/>
                    <a:pt x="485473" y="539314"/>
                  </a:cubicBezTo>
                  <a:cubicBezTo>
                    <a:pt x="619123" y="576791"/>
                    <a:pt x="741241" y="654052"/>
                    <a:pt x="831071" y="760026"/>
                  </a:cubicBezTo>
                  <a:cubicBezTo>
                    <a:pt x="792210" y="684495"/>
                    <a:pt x="747006" y="611962"/>
                    <a:pt x="695807" y="543350"/>
                  </a:cubicBezTo>
                  <a:cubicBezTo>
                    <a:pt x="690618" y="544849"/>
                    <a:pt x="685429" y="546348"/>
                    <a:pt x="680239" y="547847"/>
                  </a:cubicBezTo>
                  <a:cubicBezTo>
                    <a:pt x="560197" y="518673"/>
                    <a:pt x="452032" y="455250"/>
                    <a:pt x="372350" y="368303"/>
                  </a:cubicBezTo>
                  <a:cubicBezTo>
                    <a:pt x="474749" y="385946"/>
                    <a:pt x="572651" y="428151"/>
                    <a:pt x="654870" y="490767"/>
                  </a:cubicBezTo>
                  <a:cubicBezTo>
                    <a:pt x="622698" y="451214"/>
                    <a:pt x="588334" y="413045"/>
                    <a:pt x="552240" y="376605"/>
                  </a:cubicBezTo>
                  <a:cubicBezTo>
                    <a:pt x="533214" y="375568"/>
                    <a:pt x="471636" y="364151"/>
                    <a:pt x="471636" y="364267"/>
                  </a:cubicBezTo>
                  <a:cubicBezTo>
                    <a:pt x="369813" y="337514"/>
                    <a:pt x="280099" y="292426"/>
                    <a:pt x="191307" y="241457"/>
                  </a:cubicBezTo>
                  <a:cubicBezTo>
                    <a:pt x="274794" y="242495"/>
                    <a:pt x="483974" y="331517"/>
                    <a:pt x="541286" y="365651"/>
                  </a:cubicBezTo>
                  <a:cubicBezTo>
                    <a:pt x="491816" y="316527"/>
                    <a:pt x="438771" y="270516"/>
                    <a:pt x="382728" y="227850"/>
                  </a:cubicBezTo>
                  <a:cubicBezTo>
                    <a:pt x="380653" y="228080"/>
                    <a:pt x="378577" y="228311"/>
                    <a:pt x="376501" y="228542"/>
                  </a:cubicBezTo>
                  <a:cubicBezTo>
                    <a:pt x="300163" y="221854"/>
                    <a:pt x="228668" y="188066"/>
                    <a:pt x="167552" y="145515"/>
                  </a:cubicBezTo>
                  <a:cubicBezTo>
                    <a:pt x="106896" y="102964"/>
                    <a:pt x="54659" y="51419"/>
                    <a:pt x="0" y="1834"/>
                  </a:cubicBezTo>
                  <a:cubicBezTo>
                    <a:pt x="182773" y="-18462"/>
                    <a:pt x="285634" y="134445"/>
                    <a:pt x="395067" y="226697"/>
                  </a:cubicBezTo>
                  <a:cubicBezTo>
                    <a:pt x="394721" y="226697"/>
                    <a:pt x="394490" y="226812"/>
                    <a:pt x="394144" y="226812"/>
                  </a:cubicBezTo>
                  <a:cubicBezTo>
                    <a:pt x="444883" y="264866"/>
                    <a:pt x="493200" y="305572"/>
                    <a:pt x="538749" y="348815"/>
                  </a:cubicBezTo>
                  <a:cubicBezTo>
                    <a:pt x="503808" y="244224"/>
                    <a:pt x="454685" y="142748"/>
                    <a:pt x="401294" y="42194"/>
                  </a:cubicBezTo>
                  <a:cubicBezTo>
                    <a:pt x="490663" y="118532"/>
                    <a:pt x="547167" y="224621"/>
                    <a:pt x="558698" y="333363"/>
                  </a:cubicBezTo>
                  <a:cubicBezTo>
                    <a:pt x="558698" y="333363"/>
                    <a:pt x="555239" y="353427"/>
                    <a:pt x="549934" y="359654"/>
                  </a:cubicBezTo>
                  <a:cubicBezTo>
                    <a:pt x="607822" y="415697"/>
                    <a:pt x="661328" y="475776"/>
                    <a:pt x="709645" y="539429"/>
                  </a:cubicBezTo>
                  <a:lnTo>
                    <a:pt x="709645" y="539429"/>
                  </a:lnTo>
                  <a:lnTo>
                    <a:pt x="709645" y="539429"/>
                  </a:lnTo>
                  <a:cubicBezTo>
                    <a:pt x="717025" y="549231"/>
                    <a:pt x="724290" y="559148"/>
                    <a:pt x="731554" y="569065"/>
                  </a:cubicBezTo>
                  <a:cubicBezTo>
                    <a:pt x="720138" y="520748"/>
                    <a:pt x="640110" y="283431"/>
                    <a:pt x="703764" y="99274"/>
                  </a:cubicBezTo>
                  <a:cubicBezTo>
                    <a:pt x="762228" y="247107"/>
                    <a:pt x="769032" y="427574"/>
                    <a:pt x="735014" y="573793"/>
                  </a:cubicBezTo>
                  <a:cubicBezTo>
                    <a:pt x="789673" y="649900"/>
                    <a:pt x="837413" y="730736"/>
                    <a:pt x="877427" y="814915"/>
                  </a:cubicBezTo>
                  <a:cubicBezTo>
                    <a:pt x="878349" y="733157"/>
                    <a:pt x="851827" y="441527"/>
                    <a:pt x="923437" y="258985"/>
                  </a:cubicBezTo>
                  <a:cubicBezTo>
                    <a:pt x="926897" y="352274"/>
                    <a:pt x="966334" y="466897"/>
                    <a:pt x="967833" y="559955"/>
                  </a:cubicBezTo>
                  <a:cubicBezTo>
                    <a:pt x="970024" y="649670"/>
                    <a:pt x="930472" y="753107"/>
                    <a:pt x="883654" y="828638"/>
                  </a:cubicBezTo>
                  <a:cubicBezTo>
                    <a:pt x="927589" y="923426"/>
                    <a:pt x="961837" y="1022366"/>
                    <a:pt x="986168" y="1123727"/>
                  </a:cubicBezTo>
                  <a:cubicBezTo>
                    <a:pt x="1019610" y="903477"/>
                    <a:pt x="1055357" y="659587"/>
                    <a:pt x="1188315" y="438414"/>
                  </a:cubicBezTo>
                  <a:cubicBezTo>
                    <a:pt x="1235363" y="667428"/>
                    <a:pt x="1036676" y="1071029"/>
                    <a:pt x="989397" y="1137796"/>
                  </a:cubicBezTo>
                  <a:cubicBezTo>
                    <a:pt x="1016035" y="1253571"/>
                    <a:pt x="1029527" y="1372345"/>
                    <a:pt x="1029988" y="1491234"/>
                  </a:cubicBezTo>
                  <a:cubicBezTo>
                    <a:pt x="1048554" y="1423545"/>
                    <a:pt x="1090182" y="1208714"/>
                    <a:pt x="1135846" y="1106661"/>
                  </a:cubicBezTo>
                  <a:cubicBezTo>
                    <a:pt x="1193965" y="985004"/>
                    <a:pt x="1241013" y="875455"/>
                    <a:pt x="1345027" y="775593"/>
                  </a:cubicBezTo>
                  <a:cubicBezTo>
                    <a:pt x="1341221" y="1098128"/>
                    <a:pt x="1210455" y="1325989"/>
                    <a:pt x="1030103" y="1507839"/>
                  </a:cubicBezTo>
                  <a:cubicBezTo>
                    <a:pt x="1029411" y="1642065"/>
                    <a:pt x="1012114" y="1776522"/>
                    <a:pt x="979250" y="1907173"/>
                  </a:cubicBezTo>
                  <a:cubicBezTo>
                    <a:pt x="979250" y="1907173"/>
                    <a:pt x="979250" y="1907288"/>
                    <a:pt x="979250" y="1907404"/>
                  </a:cubicBezTo>
                  <a:cubicBezTo>
                    <a:pt x="977059" y="1915706"/>
                    <a:pt x="968641" y="1921357"/>
                    <a:pt x="960684" y="1920204"/>
                  </a:cubicBezTo>
                  <a:cubicBezTo>
                    <a:pt x="952612" y="1918935"/>
                    <a:pt x="947884" y="1911324"/>
                    <a:pt x="949960" y="1903137"/>
                  </a:cubicBezTo>
                  <a:cubicBezTo>
                    <a:pt x="984669" y="1770987"/>
                    <a:pt x="1003235" y="1634570"/>
                    <a:pt x="1004503" y="1498038"/>
                  </a:cubicBezTo>
                  <a:close/>
                </a:path>
              </a:pathLst>
            </a:custGeom>
            <a:solidFill>
              <a:schemeClr val="bg1"/>
            </a:solidFill>
            <a:ln w="114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Freeform 229">
            <a:extLst>
              <a:ext uri="{FF2B5EF4-FFF2-40B4-BE49-F238E27FC236}">
                <a16:creationId xmlns:a16="http://schemas.microsoft.com/office/drawing/2014/main" id="{F379BF52-E8E5-4553-9B97-33CE6E40F592}"/>
              </a:ext>
            </a:extLst>
          </p:cNvPr>
          <p:cNvSpPr/>
          <p:nvPr/>
        </p:nvSpPr>
        <p:spPr>
          <a:xfrm rot="2700000">
            <a:off x="787656" y="5297729"/>
            <a:ext cx="3461926" cy="2369413"/>
          </a:xfrm>
          <a:custGeom>
            <a:avLst/>
            <a:gdLst>
              <a:gd name="connsiteX0" fmla="*/ 131700 w 3941795"/>
              <a:gd name="connsiteY0" fmla="*/ 131700 h 2697845"/>
              <a:gd name="connsiteX1" fmla="*/ 449650 w 3941795"/>
              <a:gd name="connsiteY1" fmla="*/ 0 h 2697845"/>
              <a:gd name="connsiteX2" fmla="*/ 3941795 w 3941795"/>
              <a:gd name="connsiteY2" fmla="*/ 0 h 2697845"/>
              <a:gd name="connsiteX3" fmla="*/ 1243950 w 3941795"/>
              <a:gd name="connsiteY3" fmla="*/ 2697845 h 2697845"/>
              <a:gd name="connsiteX4" fmla="*/ 449650 w 3941795"/>
              <a:gd name="connsiteY4" fmla="*/ 2697845 h 2697845"/>
              <a:gd name="connsiteX5" fmla="*/ 0 w 3941795"/>
              <a:gd name="connsiteY5" fmla="*/ 2248195 h 2697845"/>
              <a:gd name="connsiteX6" fmla="*/ 0 w 3941795"/>
              <a:gd name="connsiteY6" fmla="*/ 449650 h 2697845"/>
              <a:gd name="connsiteX7" fmla="*/ 131700 w 3941795"/>
              <a:gd name="connsiteY7" fmla="*/ 131700 h 269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41795" h="2697845">
                <a:moveTo>
                  <a:pt x="131700" y="131700"/>
                </a:moveTo>
                <a:cubicBezTo>
                  <a:pt x="213070" y="50329"/>
                  <a:pt x="325483" y="0"/>
                  <a:pt x="449650" y="0"/>
                </a:cubicBezTo>
                <a:lnTo>
                  <a:pt x="3941795" y="0"/>
                </a:lnTo>
                <a:lnTo>
                  <a:pt x="1243950" y="2697845"/>
                </a:lnTo>
                <a:lnTo>
                  <a:pt x="449650" y="2697845"/>
                </a:lnTo>
                <a:cubicBezTo>
                  <a:pt x="201315" y="2697845"/>
                  <a:pt x="0" y="2496530"/>
                  <a:pt x="0" y="2248195"/>
                </a:cubicBezTo>
                <a:lnTo>
                  <a:pt x="0" y="449650"/>
                </a:lnTo>
                <a:cubicBezTo>
                  <a:pt x="0" y="325482"/>
                  <a:pt x="50329" y="213070"/>
                  <a:pt x="131700" y="13170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E448BBF3-B58A-444A-9E8A-8E539111E7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12296" y="5105307"/>
            <a:ext cx="1954192" cy="2018264"/>
          </a:xfrm>
          <a:prstGeom prst="rect">
            <a:avLst/>
          </a:prstGeom>
        </p:spPr>
      </p:pic>
      <p:sp>
        <p:nvSpPr>
          <p:cNvPr id="22" name="Rounded Rectangle 19">
            <a:extLst>
              <a:ext uri="{FF2B5EF4-FFF2-40B4-BE49-F238E27FC236}">
                <a16:creationId xmlns:a16="http://schemas.microsoft.com/office/drawing/2014/main" id="{BE4FF266-1BA8-4A29-B6E9-CDA083A2A404}"/>
              </a:ext>
            </a:extLst>
          </p:cNvPr>
          <p:cNvSpPr/>
          <p:nvPr/>
        </p:nvSpPr>
        <p:spPr>
          <a:xfrm rot="2700000">
            <a:off x="4879919" y="3695248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9105009-64F5-46C1-9200-1E77FC413FB1}"/>
              </a:ext>
            </a:extLst>
          </p:cNvPr>
          <p:cNvGrpSpPr/>
          <p:nvPr/>
        </p:nvGrpSpPr>
        <p:grpSpPr>
          <a:xfrm>
            <a:off x="6071413" y="3548948"/>
            <a:ext cx="3943444" cy="1031902"/>
            <a:chOff x="6071413" y="3487471"/>
            <a:chExt cx="3943444" cy="1031902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FB4C732-33D6-4A42-B603-D7900F190D15}"/>
                </a:ext>
              </a:extLst>
            </p:cNvPr>
            <p:cNvSpPr txBox="1"/>
            <p:nvPr/>
          </p:nvSpPr>
          <p:spPr>
            <a:xfrm>
              <a:off x="6071413" y="3487471"/>
              <a:ext cx="289423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9A8DD22-308E-4E3F-82FB-3D5E886D36F4}"/>
                </a:ext>
              </a:extLst>
            </p:cNvPr>
            <p:cNvSpPr/>
            <p:nvPr/>
          </p:nvSpPr>
          <p:spPr>
            <a:xfrm>
              <a:off x="6071413" y="3873042"/>
              <a:ext cx="3943444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o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iu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emp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incididun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labor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et dolore magna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liqua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060E008-FF5D-466B-BCCF-463003E65D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71413" y="3787978"/>
              <a:ext cx="3667673" cy="0"/>
            </a:xfrm>
            <a:prstGeom prst="line">
              <a:avLst/>
            </a:prstGeom>
            <a:ln>
              <a:solidFill>
                <a:srgbClr val="3057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DE21E0B-D7F7-4B8D-9719-717B98437461}"/>
              </a:ext>
            </a:extLst>
          </p:cNvPr>
          <p:cNvGrpSpPr/>
          <p:nvPr/>
        </p:nvGrpSpPr>
        <p:grpSpPr>
          <a:xfrm>
            <a:off x="5086058" y="3901387"/>
            <a:ext cx="327025" cy="327025"/>
            <a:chOff x="4125913" y="2552700"/>
            <a:chExt cx="327025" cy="327025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A59377F9-0732-4BB4-86A0-E0B7ACF9F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550" y="2663825"/>
              <a:ext cx="193675" cy="195263"/>
            </a:xfrm>
            <a:custGeom>
              <a:avLst/>
              <a:gdLst>
                <a:gd name="T0" fmla="*/ 33 w 860"/>
                <a:gd name="T1" fmla="*/ 860 h 860"/>
                <a:gd name="T2" fmla="*/ 33 w 860"/>
                <a:gd name="T3" fmla="*/ 860 h 860"/>
                <a:gd name="T4" fmla="*/ 27 w 860"/>
                <a:gd name="T5" fmla="*/ 859 h 860"/>
                <a:gd name="T6" fmla="*/ 21 w 860"/>
                <a:gd name="T7" fmla="*/ 857 h 860"/>
                <a:gd name="T8" fmla="*/ 16 w 860"/>
                <a:gd name="T9" fmla="*/ 854 h 860"/>
                <a:gd name="T10" fmla="*/ 11 w 860"/>
                <a:gd name="T11" fmla="*/ 850 h 860"/>
                <a:gd name="T12" fmla="*/ 11 w 860"/>
                <a:gd name="T13" fmla="*/ 850 h 860"/>
                <a:gd name="T14" fmla="*/ 5 w 860"/>
                <a:gd name="T15" fmla="*/ 845 h 860"/>
                <a:gd name="T16" fmla="*/ 3 w 860"/>
                <a:gd name="T17" fmla="*/ 840 h 860"/>
                <a:gd name="T18" fmla="*/ 1 w 860"/>
                <a:gd name="T19" fmla="*/ 833 h 860"/>
                <a:gd name="T20" fmla="*/ 0 w 860"/>
                <a:gd name="T21" fmla="*/ 827 h 860"/>
                <a:gd name="T22" fmla="*/ 1 w 860"/>
                <a:gd name="T23" fmla="*/ 821 h 860"/>
                <a:gd name="T24" fmla="*/ 3 w 860"/>
                <a:gd name="T25" fmla="*/ 815 h 860"/>
                <a:gd name="T26" fmla="*/ 5 w 860"/>
                <a:gd name="T27" fmla="*/ 809 h 860"/>
                <a:gd name="T28" fmla="*/ 11 w 860"/>
                <a:gd name="T29" fmla="*/ 803 h 860"/>
                <a:gd name="T30" fmla="*/ 803 w 860"/>
                <a:gd name="T31" fmla="*/ 10 h 860"/>
                <a:gd name="T32" fmla="*/ 803 w 860"/>
                <a:gd name="T33" fmla="*/ 10 h 860"/>
                <a:gd name="T34" fmla="*/ 809 w 860"/>
                <a:gd name="T35" fmla="*/ 6 h 860"/>
                <a:gd name="T36" fmla="*/ 815 w 860"/>
                <a:gd name="T37" fmla="*/ 2 h 860"/>
                <a:gd name="T38" fmla="*/ 821 w 860"/>
                <a:gd name="T39" fmla="*/ 1 h 860"/>
                <a:gd name="T40" fmla="*/ 827 w 860"/>
                <a:gd name="T41" fmla="*/ 0 h 860"/>
                <a:gd name="T42" fmla="*/ 833 w 860"/>
                <a:gd name="T43" fmla="*/ 1 h 860"/>
                <a:gd name="T44" fmla="*/ 840 w 860"/>
                <a:gd name="T45" fmla="*/ 2 h 860"/>
                <a:gd name="T46" fmla="*/ 845 w 860"/>
                <a:gd name="T47" fmla="*/ 6 h 860"/>
                <a:gd name="T48" fmla="*/ 850 w 860"/>
                <a:gd name="T49" fmla="*/ 10 h 860"/>
                <a:gd name="T50" fmla="*/ 850 w 860"/>
                <a:gd name="T51" fmla="*/ 10 h 860"/>
                <a:gd name="T52" fmla="*/ 855 w 860"/>
                <a:gd name="T53" fmla="*/ 15 h 860"/>
                <a:gd name="T54" fmla="*/ 857 w 860"/>
                <a:gd name="T55" fmla="*/ 21 h 860"/>
                <a:gd name="T56" fmla="*/ 859 w 860"/>
                <a:gd name="T57" fmla="*/ 27 h 860"/>
                <a:gd name="T58" fmla="*/ 860 w 860"/>
                <a:gd name="T59" fmla="*/ 34 h 860"/>
                <a:gd name="T60" fmla="*/ 859 w 860"/>
                <a:gd name="T61" fmla="*/ 40 h 860"/>
                <a:gd name="T62" fmla="*/ 857 w 860"/>
                <a:gd name="T63" fmla="*/ 46 h 860"/>
                <a:gd name="T64" fmla="*/ 855 w 860"/>
                <a:gd name="T65" fmla="*/ 52 h 860"/>
                <a:gd name="T66" fmla="*/ 850 w 860"/>
                <a:gd name="T67" fmla="*/ 57 h 860"/>
                <a:gd name="T68" fmla="*/ 57 w 860"/>
                <a:gd name="T69" fmla="*/ 850 h 860"/>
                <a:gd name="T70" fmla="*/ 57 w 860"/>
                <a:gd name="T71" fmla="*/ 850 h 860"/>
                <a:gd name="T72" fmla="*/ 52 w 860"/>
                <a:gd name="T73" fmla="*/ 854 h 860"/>
                <a:gd name="T74" fmla="*/ 46 w 860"/>
                <a:gd name="T75" fmla="*/ 857 h 860"/>
                <a:gd name="T76" fmla="*/ 40 w 860"/>
                <a:gd name="T77" fmla="*/ 859 h 860"/>
                <a:gd name="T78" fmla="*/ 33 w 860"/>
                <a:gd name="T79" fmla="*/ 860 h 860"/>
                <a:gd name="T80" fmla="*/ 33 w 860"/>
                <a:gd name="T81" fmla="*/ 860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0" h="860">
                  <a:moveTo>
                    <a:pt x="33" y="860"/>
                  </a:moveTo>
                  <a:lnTo>
                    <a:pt x="33" y="860"/>
                  </a:lnTo>
                  <a:lnTo>
                    <a:pt x="27" y="859"/>
                  </a:lnTo>
                  <a:lnTo>
                    <a:pt x="21" y="857"/>
                  </a:lnTo>
                  <a:lnTo>
                    <a:pt x="16" y="854"/>
                  </a:lnTo>
                  <a:lnTo>
                    <a:pt x="11" y="850"/>
                  </a:lnTo>
                  <a:lnTo>
                    <a:pt x="11" y="850"/>
                  </a:lnTo>
                  <a:lnTo>
                    <a:pt x="5" y="845"/>
                  </a:lnTo>
                  <a:lnTo>
                    <a:pt x="3" y="840"/>
                  </a:lnTo>
                  <a:lnTo>
                    <a:pt x="1" y="833"/>
                  </a:lnTo>
                  <a:lnTo>
                    <a:pt x="0" y="827"/>
                  </a:lnTo>
                  <a:lnTo>
                    <a:pt x="1" y="821"/>
                  </a:lnTo>
                  <a:lnTo>
                    <a:pt x="3" y="815"/>
                  </a:lnTo>
                  <a:lnTo>
                    <a:pt x="5" y="809"/>
                  </a:lnTo>
                  <a:lnTo>
                    <a:pt x="11" y="803"/>
                  </a:lnTo>
                  <a:lnTo>
                    <a:pt x="803" y="10"/>
                  </a:lnTo>
                  <a:lnTo>
                    <a:pt x="803" y="10"/>
                  </a:lnTo>
                  <a:lnTo>
                    <a:pt x="809" y="6"/>
                  </a:lnTo>
                  <a:lnTo>
                    <a:pt x="815" y="2"/>
                  </a:lnTo>
                  <a:lnTo>
                    <a:pt x="821" y="1"/>
                  </a:lnTo>
                  <a:lnTo>
                    <a:pt x="827" y="0"/>
                  </a:lnTo>
                  <a:lnTo>
                    <a:pt x="833" y="1"/>
                  </a:lnTo>
                  <a:lnTo>
                    <a:pt x="840" y="2"/>
                  </a:lnTo>
                  <a:lnTo>
                    <a:pt x="845" y="6"/>
                  </a:lnTo>
                  <a:lnTo>
                    <a:pt x="850" y="10"/>
                  </a:lnTo>
                  <a:lnTo>
                    <a:pt x="850" y="10"/>
                  </a:lnTo>
                  <a:lnTo>
                    <a:pt x="855" y="15"/>
                  </a:lnTo>
                  <a:lnTo>
                    <a:pt x="857" y="21"/>
                  </a:lnTo>
                  <a:lnTo>
                    <a:pt x="859" y="27"/>
                  </a:lnTo>
                  <a:lnTo>
                    <a:pt x="860" y="34"/>
                  </a:lnTo>
                  <a:lnTo>
                    <a:pt x="859" y="40"/>
                  </a:lnTo>
                  <a:lnTo>
                    <a:pt x="857" y="46"/>
                  </a:lnTo>
                  <a:lnTo>
                    <a:pt x="855" y="52"/>
                  </a:lnTo>
                  <a:lnTo>
                    <a:pt x="850" y="57"/>
                  </a:lnTo>
                  <a:lnTo>
                    <a:pt x="57" y="850"/>
                  </a:lnTo>
                  <a:lnTo>
                    <a:pt x="57" y="850"/>
                  </a:lnTo>
                  <a:lnTo>
                    <a:pt x="52" y="854"/>
                  </a:lnTo>
                  <a:lnTo>
                    <a:pt x="46" y="857"/>
                  </a:lnTo>
                  <a:lnTo>
                    <a:pt x="40" y="859"/>
                  </a:lnTo>
                  <a:lnTo>
                    <a:pt x="33" y="860"/>
                  </a:lnTo>
                  <a:lnTo>
                    <a:pt x="33" y="860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C753BC8E-606F-4075-8751-D83A533538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5913" y="2552700"/>
              <a:ext cx="327025" cy="327025"/>
            </a:xfrm>
            <a:custGeom>
              <a:avLst/>
              <a:gdLst>
                <a:gd name="T0" fmla="*/ 509 w 1444"/>
                <a:gd name="T1" fmla="*/ 1438 h 1443"/>
                <a:gd name="T2" fmla="*/ 379 w 1444"/>
                <a:gd name="T3" fmla="*/ 1406 h 1443"/>
                <a:gd name="T4" fmla="*/ 244 w 1444"/>
                <a:gd name="T5" fmla="*/ 1345 h 1443"/>
                <a:gd name="T6" fmla="*/ 153 w 1444"/>
                <a:gd name="T7" fmla="*/ 1289 h 1443"/>
                <a:gd name="T8" fmla="*/ 75 w 1444"/>
                <a:gd name="T9" fmla="*/ 1153 h 1443"/>
                <a:gd name="T10" fmla="*/ 20 w 1444"/>
                <a:gd name="T11" fmla="*/ 1007 h 1443"/>
                <a:gd name="T12" fmla="*/ 2 w 1444"/>
                <a:gd name="T13" fmla="*/ 905 h 1443"/>
                <a:gd name="T14" fmla="*/ 2 w 1444"/>
                <a:gd name="T15" fmla="*/ 808 h 1443"/>
                <a:gd name="T16" fmla="*/ 21 w 1444"/>
                <a:gd name="T17" fmla="*/ 715 h 1443"/>
                <a:gd name="T18" fmla="*/ 48 w 1444"/>
                <a:gd name="T19" fmla="*/ 643 h 1443"/>
                <a:gd name="T20" fmla="*/ 119 w 1444"/>
                <a:gd name="T21" fmla="*/ 530 h 1443"/>
                <a:gd name="T22" fmla="*/ 216 w 1444"/>
                <a:gd name="T23" fmla="*/ 429 h 1443"/>
                <a:gd name="T24" fmla="*/ 331 w 1444"/>
                <a:gd name="T25" fmla="*/ 342 h 1443"/>
                <a:gd name="T26" fmla="*/ 517 w 1444"/>
                <a:gd name="T27" fmla="*/ 240 h 1443"/>
                <a:gd name="T28" fmla="*/ 801 w 1444"/>
                <a:gd name="T29" fmla="*/ 130 h 1443"/>
                <a:gd name="T30" fmla="*/ 1072 w 1444"/>
                <a:gd name="T31" fmla="*/ 58 h 1443"/>
                <a:gd name="T32" fmla="*/ 1387 w 1444"/>
                <a:gd name="T33" fmla="*/ 2 h 1443"/>
                <a:gd name="T34" fmla="*/ 1428 w 1444"/>
                <a:gd name="T35" fmla="*/ 5 h 1443"/>
                <a:gd name="T36" fmla="*/ 1444 w 1444"/>
                <a:gd name="T37" fmla="*/ 29 h 1443"/>
                <a:gd name="T38" fmla="*/ 1426 w 1444"/>
                <a:gd name="T39" fmla="*/ 158 h 1443"/>
                <a:gd name="T40" fmla="*/ 1361 w 1444"/>
                <a:gd name="T41" fmla="*/ 475 h 1443"/>
                <a:gd name="T42" fmla="*/ 1274 w 1444"/>
                <a:gd name="T43" fmla="*/ 756 h 1443"/>
                <a:gd name="T44" fmla="*/ 1148 w 1444"/>
                <a:gd name="T45" fmla="*/ 1036 h 1443"/>
                <a:gd name="T46" fmla="*/ 1068 w 1444"/>
                <a:gd name="T47" fmla="*/ 1161 h 1443"/>
                <a:gd name="T48" fmla="*/ 976 w 1444"/>
                <a:gd name="T49" fmla="*/ 1268 h 1443"/>
                <a:gd name="T50" fmla="*/ 871 w 1444"/>
                <a:gd name="T51" fmla="*/ 1355 h 1443"/>
                <a:gd name="T52" fmla="*/ 774 w 1444"/>
                <a:gd name="T53" fmla="*/ 1406 h 1443"/>
                <a:gd name="T54" fmla="*/ 641 w 1444"/>
                <a:gd name="T55" fmla="*/ 1440 h 1443"/>
                <a:gd name="T56" fmla="*/ 201 w 1444"/>
                <a:gd name="T57" fmla="*/ 1242 h 1443"/>
                <a:gd name="T58" fmla="*/ 396 w 1444"/>
                <a:gd name="T59" fmla="*/ 1341 h 1443"/>
                <a:gd name="T60" fmla="*/ 558 w 1444"/>
                <a:gd name="T61" fmla="*/ 1376 h 1443"/>
                <a:gd name="T62" fmla="*/ 644 w 1444"/>
                <a:gd name="T63" fmla="*/ 1373 h 1443"/>
                <a:gd name="T64" fmla="*/ 726 w 1444"/>
                <a:gd name="T65" fmla="*/ 1354 h 1443"/>
                <a:gd name="T66" fmla="*/ 792 w 1444"/>
                <a:gd name="T67" fmla="*/ 1325 h 1443"/>
                <a:gd name="T68" fmla="*/ 885 w 1444"/>
                <a:gd name="T69" fmla="*/ 1262 h 1443"/>
                <a:gd name="T70" fmla="*/ 968 w 1444"/>
                <a:gd name="T71" fmla="*/ 1179 h 1443"/>
                <a:gd name="T72" fmla="*/ 1069 w 1444"/>
                <a:gd name="T73" fmla="*/ 1039 h 1443"/>
                <a:gd name="T74" fmla="*/ 1184 w 1444"/>
                <a:gd name="T75" fmla="*/ 803 h 1443"/>
                <a:gd name="T76" fmla="*/ 1269 w 1444"/>
                <a:gd name="T77" fmla="*/ 554 h 1443"/>
                <a:gd name="T78" fmla="*/ 1344 w 1444"/>
                <a:gd name="T79" fmla="*/ 245 h 1443"/>
                <a:gd name="T80" fmla="*/ 1327 w 1444"/>
                <a:gd name="T81" fmla="*/ 77 h 1443"/>
                <a:gd name="T82" fmla="*/ 984 w 1444"/>
                <a:gd name="T83" fmla="*/ 149 h 1443"/>
                <a:gd name="T84" fmla="*/ 740 w 1444"/>
                <a:gd name="T85" fmla="*/ 222 h 1443"/>
                <a:gd name="T86" fmla="*/ 496 w 1444"/>
                <a:gd name="T87" fmla="*/ 325 h 1443"/>
                <a:gd name="T88" fmla="*/ 301 w 1444"/>
                <a:gd name="T89" fmla="*/ 445 h 1443"/>
                <a:gd name="T90" fmla="*/ 212 w 1444"/>
                <a:gd name="T91" fmla="*/ 524 h 1443"/>
                <a:gd name="T92" fmla="*/ 141 w 1444"/>
                <a:gd name="T93" fmla="*/ 613 h 1443"/>
                <a:gd name="T94" fmla="*/ 102 w 1444"/>
                <a:gd name="T95" fmla="*/ 687 h 1443"/>
                <a:gd name="T96" fmla="*/ 76 w 1444"/>
                <a:gd name="T97" fmla="*/ 766 h 1443"/>
                <a:gd name="T98" fmla="*/ 67 w 1444"/>
                <a:gd name="T99" fmla="*/ 850 h 1443"/>
                <a:gd name="T100" fmla="*/ 80 w 1444"/>
                <a:gd name="T101" fmla="*/ 974 h 1443"/>
                <a:gd name="T102" fmla="*/ 153 w 1444"/>
                <a:gd name="T103" fmla="*/ 116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4" h="1443">
                  <a:moveTo>
                    <a:pt x="585" y="1443"/>
                  </a:moveTo>
                  <a:lnTo>
                    <a:pt x="585" y="1443"/>
                  </a:lnTo>
                  <a:lnTo>
                    <a:pt x="560" y="1442"/>
                  </a:lnTo>
                  <a:lnTo>
                    <a:pt x="535" y="1441"/>
                  </a:lnTo>
                  <a:lnTo>
                    <a:pt x="509" y="1438"/>
                  </a:lnTo>
                  <a:lnTo>
                    <a:pt x="485" y="1434"/>
                  </a:lnTo>
                  <a:lnTo>
                    <a:pt x="459" y="1429"/>
                  </a:lnTo>
                  <a:lnTo>
                    <a:pt x="432" y="1423"/>
                  </a:lnTo>
                  <a:lnTo>
                    <a:pt x="406" y="1414"/>
                  </a:lnTo>
                  <a:lnTo>
                    <a:pt x="379" y="1406"/>
                  </a:lnTo>
                  <a:lnTo>
                    <a:pt x="352" y="1396"/>
                  </a:lnTo>
                  <a:lnTo>
                    <a:pt x="325" y="1384"/>
                  </a:lnTo>
                  <a:lnTo>
                    <a:pt x="298" y="1373"/>
                  </a:lnTo>
                  <a:lnTo>
                    <a:pt x="270" y="1359"/>
                  </a:lnTo>
                  <a:lnTo>
                    <a:pt x="244" y="1345"/>
                  </a:lnTo>
                  <a:lnTo>
                    <a:pt x="216" y="1328"/>
                  </a:lnTo>
                  <a:lnTo>
                    <a:pt x="188" y="1312"/>
                  </a:lnTo>
                  <a:lnTo>
                    <a:pt x="159" y="1294"/>
                  </a:lnTo>
                  <a:lnTo>
                    <a:pt x="159" y="1294"/>
                  </a:lnTo>
                  <a:lnTo>
                    <a:pt x="153" y="1289"/>
                  </a:lnTo>
                  <a:lnTo>
                    <a:pt x="149" y="1284"/>
                  </a:lnTo>
                  <a:lnTo>
                    <a:pt x="149" y="1284"/>
                  </a:lnTo>
                  <a:lnTo>
                    <a:pt x="121" y="1240"/>
                  </a:lnTo>
                  <a:lnTo>
                    <a:pt x="97" y="1196"/>
                  </a:lnTo>
                  <a:lnTo>
                    <a:pt x="75" y="1153"/>
                  </a:lnTo>
                  <a:lnTo>
                    <a:pt x="55" y="1111"/>
                  </a:lnTo>
                  <a:lnTo>
                    <a:pt x="40" y="1069"/>
                  </a:lnTo>
                  <a:lnTo>
                    <a:pt x="32" y="1048"/>
                  </a:lnTo>
                  <a:lnTo>
                    <a:pt x="26" y="1027"/>
                  </a:lnTo>
                  <a:lnTo>
                    <a:pt x="20" y="1007"/>
                  </a:lnTo>
                  <a:lnTo>
                    <a:pt x="15" y="986"/>
                  </a:lnTo>
                  <a:lnTo>
                    <a:pt x="11" y="965"/>
                  </a:lnTo>
                  <a:lnTo>
                    <a:pt x="8" y="946"/>
                  </a:lnTo>
                  <a:lnTo>
                    <a:pt x="4" y="926"/>
                  </a:lnTo>
                  <a:lnTo>
                    <a:pt x="2" y="905"/>
                  </a:lnTo>
                  <a:lnTo>
                    <a:pt x="1" y="885"/>
                  </a:lnTo>
                  <a:lnTo>
                    <a:pt x="0" y="866"/>
                  </a:lnTo>
                  <a:lnTo>
                    <a:pt x="0" y="847"/>
                  </a:lnTo>
                  <a:lnTo>
                    <a:pt x="1" y="828"/>
                  </a:lnTo>
                  <a:lnTo>
                    <a:pt x="2" y="808"/>
                  </a:lnTo>
                  <a:lnTo>
                    <a:pt x="4" y="789"/>
                  </a:lnTo>
                  <a:lnTo>
                    <a:pt x="8" y="771"/>
                  </a:lnTo>
                  <a:lnTo>
                    <a:pt x="12" y="752"/>
                  </a:lnTo>
                  <a:lnTo>
                    <a:pt x="16" y="733"/>
                  </a:lnTo>
                  <a:lnTo>
                    <a:pt x="21" y="715"/>
                  </a:lnTo>
                  <a:lnTo>
                    <a:pt x="26" y="697"/>
                  </a:lnTo>
                  <a:lnTo>
                    <a:pt x="33" y="679"/>
                  </a:lnTo>
                  <a:lnTo>
                    <a:pt x="41" y="661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60" y="620"/>
                  </a:lnTo>
                  <a:lnTo>
                    <a:pt x="74" y="596"/>
                  </a:lnTo>
                  <a:lnTo>
                    <a:pt x="88" y="573"/>
                  </a:lnTo>
                  <a:lnTo>
                    <a:pt x="103" y="551"/>
                  </a:lnTo>
                  <a:lnTo>
                    <a:pt x="119" y="530"/>
                  </a:lnTo>
                  <a:lnTo>
                    <a:pt x="137" y="508"/>
                  </a:lnTo>
                  <a:lnTo>
                    <a:pt x="156" y="488"/>
                  </a:lnTo>
                  <a:lnTo>
                    <a:pt x="174" y="467"/>
                  </a:lnTo>
                  <a:lnTo>
                    <a:pt x="195" y="448"/>
                  </a:lnTo>
                  <a:lnTo>
                    <a:pt x="216" y="429"/>
                  </a:lnTo>
                  <a:lnTo>
                    <a:pt x="237" y="411"/>
                  </a:lnTo>
                  <a:lnTo>
                    <a:pt x="260" y="393"/>
                  </a:lnTo>
                  <a:lnTo>
                    <a:pt x="283" y="375"/>
                  </a:lnTo>
                  <a:lnTo>
                    <a:pt x="307" y="359"/>
                  </a:lnTo>
                  <a:lnTo>
                    <a:pt x="331" y="342"/>
                  </a:lnTo>
                  <a:lnTo>
                    <a:pt x="356" y="326"/>
                  </a:lnTo>
                  <a:lnTo>
                    <a:pt x="382" y="310"/>
                  </a:lnTo>
                  <a:lnTo>
                    <a:pt x="408" y="296"/>
                  </a:lnTo>
                  <a:lnTo>
                    <a:pt x="462" y="267"/>
                  </a:lnTo>
                  <a:lnTo>
                    <a:pt x="517" y="240"/>
                  </a:lnTo>
                  <a:lnTo>
                    <a:pt x="573" y="215"/>
                  </a:lnTo>
                  <a:lnTo>
                    <a:pt x="630" y="191"/>
                  </a:lnTo>
                  <a:lnTo>
                    <a:pt x="687" y="169"/>
                  </a:lnTo>
                  <a:lnTo>
                    <a:pt x="744" y="149"/>
                  </a:lnTo>
                  <a:lnTo>
                    <a:pt x="801" y="130"/>
                  </a:lnTo>
                  <a:lnTo>
                    <a:pt x="858" y="113"/>
                  </a:lnTo>
                  <a:lnTo>
                    <a:pt x="914" y="97"/>
                  </a:lnTo>
                  <a:lnTo>
                    <a:pt x="968" y="83"/>
                  </a:lnTo>
                  <a:lnTo>
                    <a:pt x="1022" y="70"/>
                  </a:lnTo>
                  <a:lnTo>
                    <a:pt x="1072" y="58"/>
                  </a:lnTo>
                  <a:lnTo>
                    <a:pt x="1121" y="47"/>
                  </a:lnTo>
                  <a:lnTo>
                    <a:pt x="1210" y="30"/>
                  </a:lnTo>
                  <a:lnTo>
                    <a:pt x="1286" y="17"/>
                  </a:lnTo>
                  <a:lnTo>
                    <a:pt x="1346" y="8"/>
                  </a:lnTo>
                  <a:lnTo>
                    <a:pt x="1387" y="2"/>
                  </a:lnTo>
                  <a:lnTo>
                    <a:pt x="1408" y="0"/>
                  </a:lnTo>
                  <a:lnTo>
                    <a:pt x="1408" y="0"/>
                  </a:lnTo>
                  <a:lnTo>
                    <a:pt x="1415" y="0"/>
                  </a:lnTo>
                  <a:lnTo>
                    <a:pt x="1422" y="2"/>
                  </a:lnTo>
                  <a:lnTo>
                    <a:pt x="1428" y="5"/>
                  </a:lnTo>
                  <a:lnTo>
                    <a:pt x="1435" y="9"/>
                  </a:lnTo>
                  <a:lnTo>
                    <a:pt x="1435" y="9"/>
                  </a:lnTo>
                  <a:lnTo>
                    <a:pt x="1439" y="15"/>
                  </a:lnTo>
                  <a:lnTo>
                    <a:pt x="1442" y="22"/>
                  </a:lnTo>
                  <a:lnTo>
                    <a:pt x="1444" y="29"/>
                  </a:lnTo>
                  <a:lnTo>
                    <a:pt x="1444" y="36"/>
                  </a:lnTo>
                  <a:lnTo>
                    <a:pt x="1444" y="36"/>
                  </a:lnTo>
                  <a:lnTo>
                    <a:pt x="1441" y="57"/>
                  </a:lnTo>
                  <a:lnTo>
                    <a:pt x="1436" y="98"/>
                  </a:lnTo>
                  <a:lnTo>
                    <a:pt x="1426" y="158"/>
                  </a:lnTo>
                  <a:lnTo>
                    <a:pt x="1414" y="234"/>
                  </a:lnTo>
                  <a:lnTo>
                    <a:pt x="1396" y="323"/>
                  </a:lnTo>
                  <a:lnTo>
                    <a:pt x="1386" y="371"/>
                  </a:lnTo>
                  <a:lnTo>
                    <a:pt x="1374" y="422"/>
                  </a:lnTo>
                  <a:lnTo>
                    <a:pt x="1361" y="475"/>
                  </a:lnTo>
                  <a:lnTo>
                    <a:pt x="1347" y="530"/>
                  </a:lnTo>
                  <a:lnTo>
                    <a:pt x="1330" y="585"/>
                  </a:lnTo>
                  <a:lnTo>
                    <a:pt x="1314" y="641"/>
                  </a:lnTo>
                  <a:lnTo>
                    <a:pt x="1295" y="699"/>
                  </a:lnTo>
                  <a:lnTo>
                    <a:pt x="1274" y="756"/>
                  </a:lnTo>
                  <a:lnTo>
                    <a:pt x="1253" y="814"/>
                  </a:lnTo>
                  <a:lnTo>
                    <a:pt x="1229" y="871"/>
                  </a:lnTo>
                  <a:lnTo>
                    <a:pt x="1204" y="927"/>
                  </a:lnTo>
                  <a:lnTo>
                    <a:pt x="1177" y="982"/>
                  </a:lnTo>
                  <a:lnTo>
                    <a:pt x="1148" y="1036"/>
                  </a:lnTo>
                  <a:lnTo>
                    <a:pt x="1134" y="1061"/>
                  </a:lnTo>
                  <a:lnTo>
                    <a:pt x="1118" y="1087"/>
                  </a:lnTo>
                  <a:lnTo>
                    <a:pt x="1101" y="1112"/>
                  </a:lnTo>
                  <a:lnTo>
                    <a:pt x="1085" y="1136"/>
                  </a:lnTo>
                  <a:lnTo>
                    <a:pt x="1068" y="1161"/>
                  </a:lnTo>
                  <a:lnTo>
                    <a:pt x="1051" y="1183"/>
                  </a:lnTo>
                  <a:lnTo>
                    <a:pt x="1033" y="1206"/>
                  </a:lnTo>
                  <a:lnTo>
                    <a:pt x="1015" y="1228"/>
                  </a:lnTo>
                  <a:lnTo>
                    <a:pt x="995" y="1249"/>
                  </a:lnTo>
                  <a:lnTo>
                    <a:pt x="976" y="1268"/>
                  </a:lnTo>
                  <a:lnTo>
                    <a:pt x="956" y="1288"/>
                  </a:lnTo>
                  <a:lnTo>
                    <a:pt x="935" y="1307"/>
                  </a:lnTo>
                  <a:lnTo>
                    <a:pt x="914" y="1324"/>
                  </a:lnTo>
                  <a:lnTo>
                    <a:pt x="892" y="1340"/>
                  </a:lnTo>
                  <a:lnTo>
                    <a:pt x="871" y="1355"/>
                  </a:lnTo>
                  <a:lnTo>
                    <a:pt x="848" y="1370"/>
                  </a:lnTo>
                  <a:lnTo>
                    <a:pt x="824" y="1383"/>
                  </a:lnTo>
                  <a:lnTo>
                    <a:pt x="800" y="1395"/>
                  </a:lnTo>
                  <a:lnTo>
                    <a:pt x="800" y="1395"/>
                  </a:lnTo>
                  <a:lnTo>
                    <a:pt x="774" y="1406"/>
                  </a:lnTo>
                  <a:lnTo>
                    <a:pt x="749" y="1416"/>
                  </a:lnTo>
                  <a:lnTo>
                    <a:pt x="723" y="1425"/>
                  </a:lnTo>
                  <a:lnTo>
                    <a:pt x="696" y="1431"/>
                  </a:lnTo>
                  <a:lnTo>
                    <a:pt x="669" y="1436"/>
                  </a:lnTo>
                  <a:lnTo>
                    <a:pt x="641" y="1440"/>
                  </a:lnTo>
                  <a:lnTo>
                    <a:pt x="613" y="1442"/>
                  </a:lnTo>
                  <a:lnTo>
                    <a:pt x="585" y="1443"/>
                  </a:lnTo>
                  <a:lnTo>
                    <a:pt x="585" y="1443"/>
                  </a:lnTo>
                  <a:close/>
                  <a:moveTo>
                    <a:pt x="201" y="1242"/>
                  </a:moveTo>
                  <a:lnTo>
                    <a:pt x="201" y="1242"/>
                  </a:lnTo>
                  <a:lnTo>
                    <a:pt x="241" y="1267"/>
                  </a:lnTo>
                  <a:lnTo>
                    <a:pt x="281" y="1289"/>
                  </a:lnTo>
                  <a:lnTo>
                    <a:pt x="319" y="1309"/>
                  </a:lnTo>
                  <a:lnTo>
                    <a:pt x="357" y="1326"/>
                  </a:lnTo>
                  <a:lnTo>
                    <a:pt x="396" y="1341"/>
                  </a:lnTo>
                  <a:lnTo>
                    <a:pt x="433" y="1353"/>
                  </a:lnTo>
                  <a:lnTo>
                    <a:pt x="469" y="1362"/>
                  </a:lnTo>
                  <a:lnTo>
                    <a:pt x="505" y="1370"/>
                  </a:lnTo>
                  <a:lnTo>
                    <a:pt x="541" y="1375"/>
                  </a:lnTo>
                  <a:lnTo>
                    <a:pt x="558" y="1376"/>
                  </a:lnTo>
                  <a:lnTo>
                    <a:pt x="576" y="1377"/>
                  </a:lnTo>
                  <a:lnTo>
                    <a:pt x="593" y="1377"/>
                  </a:lnTo>
                  <a:lnTo>
                    <a:pt x="610" y="1376"/>
                  </a:lnTo>
                  <a:lnTo>
                    <a:pt x="626" y="1375"/>
                  </a:lnTo>
                  <a:lnTo>
                    <a:pt x="644" y="1373"/>
                  </a:lnTo>
                  <a:lnTo>
                    <a:pt x="661" y="1371"/>
                  </a:lnTo>
                  <a:lnTo>
                    <a:pt x="677" y="1368"/>
                  </a:lnTo>
                  <a:lnTo>
                    <a:pt x="693" y="1364"/>
                  </a:lnTo>
                  <a:lnTo>
                    <a:pt x="709" y="1359"/>
                  </a:lnTo>
                  <a:lnTo>
                    <a:pt x="726" y="1354"/>
                  </a:lnTo>
                  <a:lnTo>
                    <a:pt x="741" y="1348"/>
                  </a:lnTo>
                  <a:lnTo>
                    <a:pt x="757" y="1342"/>
                  </a:lnTo>
                  <a:lnTo>
                    <a:pt x="772" y="1336"/>
                  </a:lnTo>
                  <a:lnTo>
                    <a:pt x="772" y="1336"/>
                  </a:lnTo>
                  <a:lnTo>
                    <a:pt x="792" y="1325"/>
                  </a:lnTo>
                  <a:lnTo>
                    <a:pt x="812" y="1315"/>
                  </a:lnTo>
                  <a:lnTo>
                    <a:pt x="830" y="1302"/>
                  </a:lnTo>
                  <a:lnTo>
                    <a:pt x="849" y="1290"/>
                  </a:lnTo>
                  <a:lnTo>
                    <a:pt x="868" y="1277"/>
                  </a:lnTo>
                  <a:lnTo>
                    <a:pt x="885" y="1262"/>
                  </a:lnTo>
                  <a:lnTo>
                    <a:pt x="903" y="1248"/>
                  </a:lnTo>
                  <a:lnTo>
                    <a:pt x="919" y="1231"/>
                  </a:lnTo>
                  <a:lnTo>
                    <a:pt x="936" y="1215"/>
                  </a:lnTo>
                  <a:lnTo>
                    <a:pt x="952" y="1198"/>
                  </a:lnTo>
                  <a:lnTo>
                    <a:pt x="968" y="1179"/>
                  </a:lnTo>
                  <a:lnTo>
                    <a:pt x="983" y="1161"/>
                  </a:lnTo>
                  <a:lnTo>
                    <a:pt x="999" y="1142"/>
                  </a:lnTo>
                  <a:lnTo>
                    <a:pt x="1013" y="1122"/>
                  </a:lnTo>
                  <a:lnTo>
                    <a:pt x="1042" y="1081"/>
                  </a:lnTo>
                  <a:lnTo>
                    <a:pt x="1069" y="1039"/>
                  </a:lnTo>
                  <a:lnTo>
                    <a:pt x="1095" y="993"/>
                  </a:lnTo>
                  <a:lnTo>
                    <a:pt x="1119" y="948"/>
                  </a:lnTo>
                  <a:lnTo>
                    <a:pt x="1142" y="900"/>
                  </a:lnTo>
                  <a:lnTo>
                    <a:pt x="1165" y="851"/>
                  </a:lnTo>
                  <a:lnTo>
                    <a:pt x="1184" y="803"/>
                  </a:lnTo>
                  <a:lnTo>
                    <a:pt x="1204" y="753"/>
                  </a:lnTo>
                  <a:lnTo>
                    <a:pt x="1221" y="703"/>
                  </a:lnTo>
                  <a:lnTo>
                    <a:pt x="1239" y="654"/>
                  </a:lnTo>
                  <a:lnTo>
                    <a:pt x="1255" y="604"/>
                  </a:lnTo>
                  <a:lnTo>
                    <a:pt x="1269" y="554"/>
                  </a:lnTo>
                  <a:lnTo>
                    <a:pt x="1283" y="507"/>
                  </a:lnTo>
                  <a:lnTo>
                    <a:pt x="1295" y="459"/>
                  </a:lnTo>
                  <a:lnTo>
                    <a:pt x="1306" y="413"/>
                  </a:lnTo>
                  <a:lnTo>
                    <a:pt x="1327" y="326"/>
                  </a:lnTo>
                  <a:lnTo>
                    <a:pt x="1344" y="245"/>
                  </a:lnTo>
                  <a:lnTo>
                    <a:pt x="1356" y="175"/>
                  </a:lnTo>
                  <a:lnTo>
                    <a:pt x="1365" y="117"/>
                  </a:lnTo>
                  <a:lnTo>
                    <a:pt x="1373" y="71"/>
                  </a:lnTo>
                  <a:lnTo>
                    <a:pt x="1373" y="71"/>
                  </a:lnTo>
                  <a:lnTo>
                    <a:pt x="1327" y="77"/>
                  </a:lnTo>
                  <a:lnTo>
                    <a:pt x="1269" y="88"/>
                  </a:lnTo>
                  <a:lnTo>
                    <a:pt x="1199" y="100"/>
                  </a:lnTo>
                  <a:lnTo>
                    <a:pt x="1118" y="117"/>
                  </a:lnTo>
                  <a:lnTo>
                    <a:pt x="1031" y="137"/>
                  </a:lnTo>
                  <a:lnTo>
                    <a:pt x="984" y="149"/>
                  </a:lnTo>
                  <a:lnTo>
                    <a:pt x="937" y="161"/>
                  </a:lnTo>
                  <a:lnTo>
                    <a:pt x="888" y="175"/>
                  </a:lnTo>
                  <a:lnTo>
                    <a:pt x="840" y="189"/>
                  </a:lnTo>
                  <a:lnTo>
                    <a:pt x="790" y="205"/>
                  </a:lnTo>
                  <a:lnTo>
                    <a:pt x="740" y="222"/>
                  </a:lnTo>
                  <a:lnTo>
                    <a:pt x="691" y="240"/>
                  </a:lnTo>
                  <a:lnTo>
                    <a:pt x="641" y="259"/>
                  </a:lnTo>
                  <a:lnTo>
                    <a:pt x="592" y="279"/>
                  </a:lnTo>
                  <a:lnTo>
                    <a:pt x="544" y="301"/>
                  </a:lnTo>
                  <a:lnTo>
                    <a:pt x="496" y="325"/>
                  </a:lnTo>
                  <a:lnTo>
                    <a:pt x="449" y="348"/>
                  </a:lnTo>
                  <a:lnTo>
                    <a:pt x="405" y="374"/>
                  </a:lnTo>
                  <a:lnTo>
                    <a:pt x="363" y="401"/>
                  </a:lnTo>
                  <a:lnTo>
                    <a:pt x="321" y="430"/>
                  </a:lnTo>
                  <a:lnTo>
                    <a:pt x="301" y="445"/>
                  </a:lnTo>
                  <a:lnTo>
                    <a:pt x="282" y="460"/>
                  </a:lnTo>
                  <a:lnTo>
                    <a:pt x="264" y="476"/>
                  </a:lnTo>
                  <a:lnTo>
                    <a:pt x="246" y="491"/>
                  </a:lnTo>
                  <a:lnTo>
                    <a:pt x="229" y="508"/>
                  </a:lnTo>
                  <a:lnTo>
                    <a:pt x="212" y="524"/>
                  </a:lnTo>
                  <a:lnTo>
                    <a:pt x="196" y="541"/>
                  </a:lnTo>
                  <a:lnTo>
                    <a:pt x="181" y="559"/>
                  </a:lnTo>
                  <a:lnTo>
                    <a:pt x="167" y="576"/>
                  </a:lnTo>
                  <a:lnTo>
                    <a:pt x="153" y="595"/>
                  </a:lnTo>
                  <a:lnTo>
                    <a:pt x="141" y="613"/>
                  </a:lnTo>
                  <a:lnTo>
                    <a:pt x="129" y="632"/>
                  </a:lnTo>
                  <a:lnTo>
                    <a:pt x="118" y="652"/>
                  </a:lnTo>
                  <a:lnTo>
                    <a:pt x="108" y="671"/>
                  </a:lnTo>
                  <a:lnTo>
                    <a:pt x="108" y="671"/>
                  </a:lnTo>
                  <a:lnTo>
                    <a:pt x="102" y="687"/>
                  </a:lnTo>
                  <a:lnTo>
                    <a:pt x="95" y="702"/>
                  </a:lnTo>
                  <a:lnTo>
                    <a:pt x="89" y="718"/>
                  </a:lnTo>
                  <a:lnTo>
                    <a:pt x="84" y="734"/>
                  </a:lnTo>
                  <a:lnTo>
                    <a:pt x="80" y="750"/>
                  </a:lnTo>
                  <a:lnTo>
                    <a:pt x="76" y="766"/>
                  </a:lnTo>
                  <a:lnTo>
                    <a:pt x="73" y="783"/>
                  </a:lnTo>
                  <a:lnTo>
                    <a:pt x="71" y="800"/>
                  </a:lnTo>
                  <a:lnTo>
                    <a:pt x="69" y="816"/>
                  </a:lnTo>
                  <a:lnTo>
                    <a:pt x="68" y="834"/>
                  </a:lnTo>
                  <a:lnTo>
                    <a:pt x="67" y="850"/>
                  </a:lnTo>
                  <a:lnTo>
                    <a:pt x="67" y="868"/>
                  </a:lnTo>
                  <a:lnTo>
                    <a:pt x="68" y="885"/>
                  </a:lnTo>
                  <a:lnTo>
                    <a:pt x="69" y="903"/>
                  </a:lnTo>
                  <a:lnTo>
                    <a:pt x="74" y="938"/>
                  </a:lnTo>
                  <a:lnTo>
                    <a:pt x="80" y="974"/>
                  </a:lnTo>
                  <a:lnTo>
                    <a:pt x="90" y="1011"/>
                  </a:lnTo>
                  <a:lnTo>
                    <a:pt x="103" y="1048"/>
                  </a:lnTo>
                  <a:lnTo>
                    <a:pt x="117" y="1086"/>
                  </a:lnTo>
                  <a:lnTo>
                    <a:pt x="134" y="1125"/>
                  </a:lnTo>
                  <a:lnTo>
                    <a:pt x="153" y="1163"/>
                  </a:lnTo>
                  <a:lnTo>
                    <a:pt x="176" y="1202"/>
                  </a:lnTo>
                  <a:lnTo>
                    <a:pt x="201" y="1242"/>
                  </a:lnTo>
                  <a:lnTo>
                    <a:pt x="201" y="124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8D120880-D523-4502-B7AC-2B26A347C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88" y="2709863"/>
              <a:ext cx="90488" cy="88900"/>
            </a:xfrm>
            <a:custGeom>
              <a:avLst/>
              <a:gdLst>
                <a:gd name="T0" fmla="*/ 363 w 397"/>
                <a:gd name="T1" fmla="*/ 396 h 396"/>
                <a:gd name="T2" fmla="*/ 33 w 397"/>
                <a:gd name="T3" fmla="*/ 396 h 396"/>
                <a:gd name="T4" fmla="*/ 33 w 397"/>
                <a:gd name="T5" fmla="*/ 396 h 396"/>
                <a:gd name="T6" fmla="*/ 26 w 397"/>
                <a:gd name="T7" fmla="*/ 395 h 396"/>
                <a:gd name="T8" fmla="*/ 20 w 397"/>
                <a:gd name="T9" fmla="*/ 394 h 396"/>
                <a:gd name="T10" fmla="*/ 15 w 397"/>
                <a:gd name="T11" fmla="*/ 391 h 396"/>
                <a:gd name="T12" fmla="*/ 10 w 397"/>
                <a:gd name="T13" fmla="*/ 387 h 396"/>
                <a:gd name="T14" fmla="*/ 5 w 397"/>
                <a:gd name="T15" fmla="*/ 382 h 396"/>
                <a:gd name="T16" fmla="*/ 2 w 397"/>
                <a:gd name="T17" fmla="*/ 377 h 396"/>
                <a:gd name="T18" fmla="*/ 0 w 397"/>
                <a:gd name="T19" fmla="*/ 370 h 396"/>
                <a:gd name="T20" fmla="*/ 0 w 397"/>
                <a:gd name="T21" fmla="*/ 363 h 396"/>
                <a:gd name="T22" fmla="*/ 0 w 397"/>
                <a:gd name="T23" fmla="*/ 33 h 396"/>
                <a:gd name="T24" fmla="*/ 0 w 397"/>
                <a:gd name="T25" fmla="*/ 33 h 396"/>
                <a:gd name="T26" fmla="*/ 0 w 397"/>
                <a:gd name="T27" fmla="*/ 26 h 396"/>
                <a:gd name="T28" fmla="*/ 2 w 397"/>
                <a:gd name="T29" fmla="*/ 20 h 396"/>
                <a:gd name="T30" fmla="*/ 5 w 397"/>
                <a:gd name="T31" fmla="*/ 15 h 396"/>
                <a:gd name="T32" fmla="*/ 10 w 397"/>
                <a:gd name="T33" fmla="*/ 9 h 396"/>
                <a:gd name="T34" fmla="*/ 15 w 397"/>
                <a:gd name="T35" fmla="*/ 5 h 396"/>
                <a:gd name="T36" fmla="*/ 20 w 397"/>
                <a:gd name="T37" fmla="*/ 2 h 396"/>
                <a:gd name="T38" fmla="*/ 26 w 397"/>
                <a:gd name="T39" fmla="*/ 0 h 396"/>
                <a:gd name="T40" fmla="*/ 33 w 397"/>
                <a:gd name="T41" fmla="*/ 0 h 396"/>
                <a:gd name="T42" fmla="*/ 33 w 397"/>
                <a:gd name="T43" fmla="*/ 0 h 396"/>
                <a:gd name="T44" fmla="*/ 40 w 397"/>
                <a:gd name="T45" fmla="*/ 0 h 396"/>
                <a:gd name="T46" fmla="*/ 46 w 397"/>
                <a:gd name="T47" fmla="*/ 2 h 396"/>
                <a:gd name="T48" fmla="*/ 52 w 397"/>
                <a:gd name="T49" fmla="*/ 5 h 396"/>
                <a:gd name="T50" fmla="*/ 56 w 397"/>
                <a:gd name="T51" fmla="*/ 9 h 396"/>
                <a:gd name="T52" fmla="*/ 60 w 397"/>
                <a:gd name="T53" fmla="*/ 15 h 396"/>
                <a:gd name="T54" fmla="*/ 63 w 397"/>
                <a:gd name="T55" fmla="*/ 20 h 396"/>
                <a:gd name="T56" fmla="*/ 65 w 397"/>
                <a:gd name="T57" fmla="*/ 26 h 396"/>
                <a:gd name="T58" fmla="*/ 66 w 397"/>
                <a:gd name="T59" fmla="*/ 33 h 396"/>
                <a:gd name="T60" fmla="*/ 66 w 397"/>
                <a:gd name="T61" fmla="*/ 330 h 396"/>
                <a:gd name="T62" fmla="*/ 363 w 397"/>
                <a:gd name="T63" fmla="*/ 330 h 396"/>
                <a:gd name="T64" fmla="*/ 363 w 397"/>
                <a:gd name="T65" fmla="*/ 330 h 396"/>
                <a:gd name="T66" fmla="*/ 371 w 397"/>
                <a:gd name="T67" fmla="*/ 331 h 396"/>
                <a:gd name="T68" fmla="*/ 377 w 397"/>
                <a:gd name="T69" fmla="*/ 333 h 396"/>
                <a:gd name="T70" fmla="*/ 382 w 397"/>
                <a:gd name="T71" fmla="*/ 336 h 396"/>
                <a:gd name="T72" fmla="*/ 387 w 397"/>
                <a:gd name="T73" fmla="*/ 340 h 396"/>
                <a:gd name="T74" fmla="*/ 391 w 397"/>
                <a:gd name="T75" fmla="*/ 345 h 396"/>
                <a:gd name="T76" fmla="*/ 395 w 397"/>
                <a:gd name="T77" fmla="*/ 351 h 396"/>
                <a:gd name="T78" fmla="*/ 396 w 397"/>
                <a:gd name="T79" fmla="*/ 357 h 396"/>
                <a:gd name="T80" fmla="*/ 397 w 397"/>
                <a:gd name="T81" fmla="*/ 363 h 396"/>
                <a:gd name="T82" fmla="*/ 397 w 397"/>
                <a:gd name="T83" fmla="*/ 363 h 396"/>
                <a:gd name="T84" fmla="*/ 396 w 397"/>
                <a:gd name="T85" fmla="*/ 370 h 396"/>
                <a:gd name="T86" fmla="*/ 395 w 397"/>
                <a:gd name="T87" fmla="*/ 377 h 396"/>
                <a:gd name="T88" fmla="*/ 391 w 397"/>
                <a:gd name="T89" fmla="*/ 382 h 396"/>
                <a:gd name="T90" fmla="*/ 387 w 397"/>
                <a:gd name="T91" fmla="*/ 387 h 396"/>
                <a:gd name="T92" fmla="*/ 382 w 397"/>
                <a:gd name="T93" fmla="*/ 391 h 396"/>
                <a:gd name="T94" fmla="*/ 377 w 397"/>
                <a:gd name="T95" fmla="*/ 394 h 396"/>
                <a:gd name="T96" fmla="*/ 371 w 397"/>
                <a:gd name="T97" fmla="*/ 395 h 396"/>
                <a:gd name="T98" fmla="*/ 363 w 397"/>
                <a:gd name="T99" fmla="*/ 396 h 396"/>
                <a:gd name="T100" fmla="*/ 363 w 397"/>
                <a:gd name="T101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396">
                  <a:moveTo>
                    <a:pt x="363" y="396"/>
                  </a:moveTo>
                  <a:lnTo>
                    <a:pt x="33" y="396"/>
                  </a:lnTo>
                  <a:lnTo>
                    <a:pt x="33" y="396"/>
                  </a:lnTo>
                  <a:lnTo>
                    <a:pt x="26" y="395"/>
                  </a:lnTo>
                  <a:lnTo>
                    <a:pt x="20" y="394"/>
                  </a:lnTo>
                  <a:lnTo>
                    <a:pt x="15" y="391"/>
                  </a:lnTo>
                  <a:lnTo>
                    <a:pt x="10" y="387"/>
                  </a:lnTo>
                  <a:lnTo>
                    <a:pt x="5" y="382"/>
                  </a:lnTo>
                  <a:lnTo>
                    <a:pt x="2" y="377"/>
                  </a:lnTo>
                  <a:lnTo>
                    <a:pt x="0" y="370"/>
                  </a:lnTo>
                  <a:lnTo>
                    <a:pt x="0" y="36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6" y="9"/>
                  </a:lnTo>
                  <a:lnTo>
                    <a:pt x="60" y="15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330"/>
                  </a:lnTo>
                  <a:lnTo>
                    <a:pt x="363" y="330"/>
                  </a:lnTo>
                  <a:lnTo>
                    <a:pt x="363" y="330"/>
                  </a:lnTo>
                  <a:lnTo>
                    <a:pt x="371" y="331"/>
                  </a:lnTo>
                  <a:lnTo>
                    <a:pt x="377" y="333"/>
                  </a:lnTo>
                  <a:lnTo>
                    <a:pt x="382" y="336"/>
                  </a:lnTo>
                  <a:lnTo>
                    <a:pt x="387" y="340"/>
                  </a:lnTo>
                  <a:lnTo>
                    <a:pt x="391" y="345"/>
                  </a:lnTo>
                  <a:lnTo>
                    <a:pt x="395" y="351"/>
                  </a:lnTo>
                  <a:lnTo>
                    <a:pt x="396" y="357"/>
                  </a:lnTo>
                  <a:lnTo>
                    <a:pt x="397" y="363"/>
                  </a:lnTo>
                  <a:lnTo>
                    <a:pt x="397" y="363"/>
                  </a:lnTo>
                  <a:lnTo>
                    <a:pt x="396" y="370"/>
                  </a:lnTo>
                  <a:lnTo>
                    <a:pt x="395" y="377"/>
                  </a:lnTo>
                  <a:lnTo>
                    <a:pt x="391" y="382"/>
                  </a:lnTo>
                  <a:lnTo>
                    <a:pt x="387" y="387"/>
                  </a:lnTo>
                  <a:lnTo>
                    <a:pt x="382" y="391"/>
                  </a:lnTo>
                  <a:lnTo>
                    <a:pt x="377" y="394"/>
                  </a:lnTo>
                  <a:lnTo>
                    <a:pt x="371" y="395"/>
                  </a:lnTo>
                  <a:lnTo>
                    <a:pt x="363" y="396"/>
                  </a:lnTo>
                  <a:lnTo>
                    <a:pt x="363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A0678FAE-13C4-4350-A491-417B9FA08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613" y="2671763"/>
              <a:ext cx="68263" cy="68263"/>
            </a:xfrm>
            <a:custGeom>
              <a:avLst/>
              <a:gdLst>
                <a:gd name="T0" fmla="*/ 265 w 298"/>
                <a:gd name="T1" fmla="*/ 298 h 298"/>
                <a:gd name="T2" fmla="*/ 33 w 298"/>
                <a:gd name="T3" fmla="*/ 298 h 298"/>
                <a:gd name="T4" fmla="*/ 33 w 298"/>
                <a:gd name="T5" fmla="*/ 298 h 298"/>
                <a:gd name="T6" fmla="*/ 27 w 298"/>
                <a:gd name="T7" fmla="*/ 296 h 298"/>
                <a:gd name="T8" fmla="*/ 21 w 298"/>
                <a:gd name="T9" fmla="*/ 294 h 298"/>
                <a:gd name="T10" fmla="*/ 15 w 298"/>
                <a:gd name="T11" fmla="*/ 291 h 298"/>
                <a:gd name="T12" fmla="*/ 10 w 298"/>
                <a:gd name="T13" fmla="*/ 287 h 298"/>
                <a:gd name="T14" fmla="*/ 6 w 298"/>
                <a:gd name="T15" fmla="*/ 282 h 298"/>
                <a:gd name="T16" fmla="*/ 3 w 298"/>
                <a:gd name="T17" fmla="*/ 277 h 298"/>
                <a:gd name="T18" fmla="*/ 1 w 298"/>
                <a:gd name="T19" fmla="*/ 271 h 298"/>
                <a:gd name="T20" fmla="*/ 0 w 298"/>
                <a:gd name="T21" fmla="*/ 264 h 298"/>
                <a:gd name="T22" fmla="*/ 0 w 298"/>
                <a:gd name="T23" fmla="*/ 33 h 298"/>
                <a:gd name="T24" fmla="*/ 0 w 298"/>
                <a:gd name="T25" fmla="*/ 33 h 298"/>
                <a:gd name="T26" fmla="*/ 1 w 298"/>
                <a:gd name="T27" fmla="*/ 26 h 298"/>
                <a:gd name="T28" fmla="*/ 3 w 298"/>
                <a:gd name="T29" fmla="*/ 20 h 298"/>
                <a:gd name="T30" fmla="*/ 6 w 298"/>
                <a:gd name="T31" fmla="*/ 14 h 298"/>
                <a:gd name="T32" fmla="*/ 10 w 298"/>
                <a:gd name="T33" fmla="*/ 9 h 298"/>
                <a:gd name="T34" fmla="*/ 15 w 298"/>
                <a:gd name="T35" fmla="*/ 6 h 298"/>
                <a:gd name="T36" fmla="*/ 21 w 298"/>
                <a:gd name="T37" fmla="*/ 3 h 298"/>
                <a:gd name="T38" fmla="*/ 27 w 298"/>
                <a:gd name="T39" fmla="*/ 1 h 298"/>
                <a:gd name="T40" fmla="*/ 33 w 298"/>
                <a:gd name="T41" fmla="*/ 0 h 298"/>
                <a:gd name="T42" fmla="*/ 33 w 298"/>
                <a:gd name="T43" fmla="*/ 0 h 298"/>
                <a:gd name="T44" fmla="*/ 40 w 298"/>
                <a:gd name="T45" fmla="*/ 1 h 298"/>
                <a:gd name="T46" fmla="*/ 47 w 298"/>
                <a:gd name="T47" fmla="*/ 3 h 298"/>
                <a:gd name="T48" fmla="*/ 52 w 298"/>
                <a:gd name="T49" fmla="*/ 6 h 298"/>
                <a:gd name="T50" fmla="*/ 57 w 298"/>
                <a:gd name="T51" fmla="*/ 9 h 298"/>
                <a:gd name="T52" fmla="*/ 61 w 298"/>
                <a:gd name="T53" fmla="*/ 14 h 298"/>
                <a:gd name="T54" fmla="*/ 64 w 298"/>
                <a:gd name="T55" fmla="*/ 20 h 298"/>
                <a:gd name="T56" fmla="*/ 66 w 298"/>
                <a:gd name="T57" fmla="*/ 26 h 298"/>
                <a:gd name="T58" fmla="*/ 66 w 298"/>
                <a:gd name="T59" fmla="*/ 33 h 298"/>
                <a:gd name="T60" fmla="*/ 66 w 298"/>
                <a:gd name="T61" fmla="*/ 231 h 298"/>
                <a:gd name="T62" fmla="*/ 265 w 298"/>
                <a:gd name="T63" fmla="*/ 231 h 298"/>
                <a:gd name="T64" fmla="*/ 265 w 298"/>
                <a:gd name="T65" fmla="*/ 231 h 298"/>
                <a:gd name="T66" fmla="*/ 271 w 298"/>
                <a:gd name="T67" fmla="*/ 231 h 298"/>
                <a:gd name="T68" fmla="*/ 277 w 298"/>
                <a:gd name="T69" fmla="*/ 233 h 298"/>
                <a:gd name="T70" fmla="*/ 284 w 298"/>
                <a:gd name="T71" fmla="*/ 236 h 298"/>
                <a:gd name="T72" fmla="*/ 289 w 298"/>
                <a:gd name="T73" fmla="*/ 241 h 298"/>
                <a:gd name="T74" fmla="*/ 292 w 298"/>
                <a:gd name="T75" fmla="*/ 246 h 298"/>
                <a:gd name="T76" fmla="*/ 295 w 298"/>
                <a:gd name="T77" fmla="*/ 251 h 298"/>
                <a:gd name="T78" fmla="*/ 297 w 298"/>
                <a:gd name="T79" fmla="*/ 257 h 298"/>
                <a:gd name="T80" fmla="*/ 298 w 298"/>
                <a:gd name="T81" fmla="*/ 264 h 298"/>
                <a:gd name="T82" fmla="*/ 298 w 298"/>
                <a:gd name="T83" fmla="*/ 264 h 298"/>
                <a:gd name="T84" fmla="*/ 297 w 298"/>
                <a:gd name="T85" fmla="*/ 271 h 298"/>
                <a:gd name="T86" fmla="*/ 295 w 298"/>
                <a:gd name="T87" fmla="*/ 277 h 298"/>
                <a:gd name="T88" fmla="*/ 292 w 298"/>
                <a:gd name="T89" fmla="*/ 282 h 298"/>
                <a:gd name="T90" fmla="*/ 289 w 298"/>
                <a:gd name="T91" fmla="*/ 287 h 298"/>
                <a:gd name="T92" fmla="*/ 284 w 298"/>
                <a:gd name="T93" fmla="*/ 291 h 298"/>
                <a:gd name="T94" fmla="*/ 277 w 298"/>
                <a:gd name="T95" fmla="*/ 294 h 298"/>
                <a:gd name="T96" fmla="*/ 271 w 298"/>
                <a:gd name="T97" fmla="*/ 296 h 298"/>
                <a:gd name="T98" fmla="*/ 265 w 298"/>
                <a:gd name="T99" fmla="*/ 298 h 298"/>
                <a:gd name="T100" fmla="*/ 265 w 298"/>
                <a:gd name="T101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8" h="298">
                  <a:moveTo>
                    <a:pt x="265" y="298"/>
                  </a:moveTo>
                  <a:lnTo>
                    <a:pt x="33" y="298"/>
                  </a:lnTo>
                  <a:lnTo>
                    <a:pt x="33" y="298"/>
                  </a:lnTo>
                  <a:lnTo>
                    <a:pt x="27" y="296"/>
                  </a:lnTo>
                  <a:lnTo>
                    <a:pt x="21" y="294"/>
                  </a:lnTo>
                  <a:lnTo>
                    <a:pt x="15" y="291"/>
                  </a:lnTo>
                  <a:lnTo>
                    <a:pt x="10" y="287"/>
                  </a:lnTo>
                  <a:lnTo>
                    <a:pt x="6" y="282"/>
                  </a:lnTo>
                  <a:lnTo>
                    <a:pt x="3" y="277"/>
                  </a:lnTo>
                  <a:lnTo>
                    <a:pt x="1" y="271"/>
                  </a:lnTo>
                  <a:lnTo>
                    <a:pt x="0" y="26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9"/>
                  </a:lnTo>
                  <a:lnTo>
                    <a:pt x="15" y="6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7" y="9"/>
                  </a:lnTo>
                  <a:lnTo>
                    <a:pt x="61" y="14"/>
                  </a:lnTo>
                  <a:lnTo>
                    <a:pt x="64" y="20"/>
                  </a:lnTo>
                  <a:lnTo>
                    <a:pt x="66" y="26"/>
                  </a:lnTo>
                  <a:lnTo>
                    <a:pt x="66" y="33"/>
                  </a:lnTo>
                  <a:lnTo>
                    <a:pt x="66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71" y="231"/>
                  </a:lnTo>
                  <a:lnTo>
                    <a:pt x="277" y="233"/>
                  </a:lnTo>
                  <a:lnTo>
                    <a:pt x="284" y="236"/>
                  </a:lnTo>
                  <a:lnTo>
                    <a:pt x="289" y="241"/>
                  </a:lnTo>
                  <a:lnTo>
                    <a:pt x="292" y="246"/>
                  </a:lnTo>
                  <a:lnTo>
                    <a:pt x="295" y="251"/>
                  </a:lnTo>
                  <a:lnTo>
                    <a:pt x="297" y="257"/>
                  </a:lnTo>
                  <a:lnTo>
                    <a:pt x="298" y="264"/>
                  </a:lnTo>
                  <a:lnTo>
                    <a:pt x="298" y="264"/>
                  </a:lnTo>
                  <a:lnTo>
                    <a:pt x="297" y="271"/>
                  </a:lnTo>
                  <a:lnTo>
                    <a:pt x="295" y="277"/>
                  </a:lnTo>
                  <a:lnTo>
                    <a:pt x="292" y="282"/>
                  </a:lnTo>
                  <a:lnTo>
                    <a:pt x="289" y="287"/>
                  </a:lnTo>
                  <a:lnTo>
                    <a:pt x="284" y="291"/>
                  </a:lnTo>
                  <a:lnTo>
                    <a:pt x="277" y="294"/>
                  </a:lnTo>
                  <a:lnTo>
                    <a:pt x="271" y="296"/>
                  </a:lnTo>
                  <a:lnTo>
                    <a:pt x="265" y="298"/>
                  </a:lnTo>
                  <a:lnTo>
                    <a:pt x="265" y="298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36BE3F64-504A-497D-934C-408714C0B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938" y="2641600"/>
              <a:ext cx="38100" cy="38100"/>
            </a:xfrm>
            <a:custGeom>
              <a:avLst/>
              <a:gdLst>
                <a:gd name="T0" fmla="*/ 133 w 166"/>
                <a:gd name="T1" fmla="*/ 166 h 166"/>
                <a:gd name="T2" fmla="*/ 33 w 166"/>
                <a:gd name="T3" fmla="*/ 166 h 166"/>
                <a:gd name="T4" fmla="*/ 33 w 166"/>
                <a:gd name="T5" fmla="*/ 166 h 166"/>
                <a:gd name="T6" fmla="*/ 26 w 166"/>
                <a:gd name="T7" fmla="*/ 165 h 166"/>
                <a:gd name="T8" fmla="*/ 20 w 166"/>
                <a:gd name="T9" fmla="*/ 164 h 166"/>
                <a:gd name="T10" fmla="*/ 15 w 166"/>
                <a:gd name="T11" fmla="*/ 160 h 166"/>
                <a:gd name="T12" fmla="*/ 9 w 166"/>
                <a:gd name="T13" fmla="*/ 156 h 166"/>
                <a:gd name="T14" fmla="*/ 5 w 166"/>
                <a:gd name="T15" fmla="*/ 151 h 166"/>
                <a:gd name="T16" fmla="*/ 2 w 166"/>
                <a:gd name="T17" fmla="*/ 146 h 166"/>
                <a:gd name="T18" fmla="*/ 1 w 166"/>
                <a:gd name="T19" fmla="*/ 140 h 166"/>
                <a:gd name="T20" fmla="*/ 0 w 166"/>
                <a:gd name="T21" fmla="*/ 133 h 166"/>
                <a:gd name="T22" fmla="*/ 0 w 166"/>
                <a:gd name="T23" fmla="*/ 33 h 166"/>
                <a:gd name="T24" fmla="*/ 0 w 166"/>
                <a:gd name="T25" fmla="*/ 33 h 166"/>
                <a:gd name="T26" fmla="*/ 1 w 166"/>
                <a:gd name="T27" fmla="*/ 27 h 166"/>
                <a:gd name="T28" fmla="*/ 2 w 166"/>
                <a:gd name="T29" fmla="*/ 21 h 166"/>
                <a:gd name="T30" fmla="*/ 5 w 166"/>
                <a:gd name="T31" fmla="*/ 15 h 166"/>
                <a:gd name="T32" fmla="*/ 9 w 166"/>
                <a:gd name="T33" fmla="*/ 10 h 166"/>
                <a:gd name="T34" fmla="*/ 15 w 166"/>
                <a:gd name="T35" fmla="*/ 6 h 166"/>
                <a:gd name="T36" fmla="*/ 20 w 166"/>
                <a:gd name="T37" fmla="*/ 3 h 166"/>
                <a:gd name="T38" fmla="*/ 26 w 166"/>
                <a:gd name="T39" fmla="*/ 1 h 166"/>
                <a:gd name="T40" fmla="*/ 33 w 166"/>
                <a:gd name="T41" fmla="*/ 0 h 166"/>
                <a:gd name="T42" fmla="*/ 33 w 166"/>
                <a:gd name="T43" fmla="*/ 0 h 166"/>
                <a:gd name="T44" fmla="*/ 39 w 166"/>
                <a:gd name="T45" fmla="*/ 1 h 166"/>
                <a:gd name="T46" fmla="*/ 46 w 166"/>
                <a:gd name="T47" fmla="*/ 3 h 166"/>
                <a:gd name="T48" fmla="*/ 52 w 166"/>
                <a:gd name="T49" fmla="*/ 6 h 166"/>
                <a:gd name="T50" fmla="*/ 56 w 166"/>
                <a:gd name="T51" fmla="*/ 10 h 166"/>
                <a:gd name="T52" fmla="*/ 60 w 166"/>
                <a:gd name="T53" fmla="*/ 15 h 166"/>
                <a:gd name="T54" fmla="*/ 63 w 166"/>
                <a:gd name="T55" fmla="*/ 21 h 166"/>
                <a:gd name="T56" fmla="*/ 65 w 166"/>
                <a:gd name="T57" fmla="*/ 27 h 166"/>
                <a:gd name="T58" fmla="*/ 66 w 166"/>
                <a:gd name="T59" fmla="*/ 33 h 166"/>
                <a:gd name="T60" fmla="*/ 66 w 166"/>
                <a:gd name="T61" fmla="*/ 99 h 166"/>
                <a:gd name="T62" fmla="*/ 133 w 166"/>
                <a:gd name="T63" fmla="*/ 99 h 166"/>
                <a:gd name="T64" fmla="*/ 133 w 166"/>
                <a:gd name="T65" fmla="*/ 99 h 166"/>
                <a:gd name="T66" fmla="*/ 139 w 166"/>
                <a:gd name="T67" fmla="*/ 100 h 166"/>
                <a:gd name="T68" fmla="*/ 145 w 166"/>
                <a:gd name="T69" fmla="*/ 103 h 166"/>
                <a:gd name="T70" fmla="*/ 151 w 166"/>
                <a:gd name="T71" fmla="*/ 106 h 166"/>
                <a:gd name="T72" fmla="*/ 155 w 166"/>
                <a:gd name="T73" fmla="*/ 109 h 166"/>
                <a:gd name="T74" fmla="*/ 159 w 166"/>
                <a:gd name="T75" fmla="*/ 114 h 166"/>
                <a:gd name="T76" fmla="*/ 163 w 166"/>
                <a:gd name="T77" fmla="*/ 120 h 166"/>
                <a:gd name="T78" fmla="*/ 165 w 166"/>
                <a:gd name="T79" fmla="*/ 126 h 166"/>
                <a:gd name="T80" fmla="*/ 166 w 166"/>
                <a:gd name="T81" fmla="*/ 133 h 166"/>
                <a:gd name="T82" fmla="*/ 166 w 166"/>
                <a:gd name="T83" fmla="*/ 133 h 166"/>
                <a:gd name="T84" fmla="*/ 165 w 166"/>
                <a:gd name="T85" fmla="*/ 140 h 166"/>
                <a:gd name="T86" fmla="*/ 163 w 166"/>
                <a:gd name="T87" fmla="*/ 146 h 166"/>
                <a:gd name="T88" fmla="*/ 159 w 166"/>
                <a:gd name="T89" fmla="*/ 151 h 166"/>
                <a:gd name="T90" fmla="*/ 155 w 166"/>
                <a:gd name="T91" fmla="*/ 156 h 166"/>
                <a:gd name="T92" fmla="*/ 151 w 166"/>
                <a:gd name="T93" fmla="*/ 160 h 166"/>
                <a:gd name="T94" fmla="*/ 145 w 166"/>
                <a:gd name="T95" fmla="*/ 164 h 166"/>
                <a:gd name="T96" fmla="*/ 139 w 166"/>
                <a:gd name="T97" fmla="*/ 165 h 166"/>
                <a:gd name="T98" fmla="*/ 133 w 166"/>
                <a:gd name="T99" fmla="*/ 166 h 166"/>
                <a:gd name="T100" fmla="*/ 133 w 166"/>
                <a:gd name="T10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166">
                  <a:moveTo>
                    <a:pt x="133" y="166"/>
                  </a:moveTo>
                  <a:lnTo>
                    <a:pt x="33" y="166"/>
                  </a:lnTo>
                  <a:lnTo>
                    <a:pt x="33" y="166"/>
                  </a:lnTo>
                  <a:lnTo>
                    <a:pt x="26" y="165"/>
                  </a:lnTo>
                  <a:lnTo>
                    <a:pt x="20" y="164"/>
                  </a:lnTo>
                  <a:lnTo>
                    <a:pt x="15" y="160"/>
                  </a:lnTo>
                  <a:lnTo>
                    <a:pt x="9" y="156"/>
                  </a:lnTo>
                  <a:lnTo>
                    <a:pt x="5" y="151"/>
                  </a:lnTo>
                  <a:lnTo>
                    <a:pt x="2" y="146"/>
                  </a:lnTo>
                  <a:lnTo>
                    <a:pt x="1" y="140"/>
                  </a:lnTo>
                  <a:lnTo>
                    <a:pt x="0" y="1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2" y="21"/>
                  </a:lnTo>
                  <a:lnTo>
                    <a:pt x="5" y="15"/>
                  </a:lnTo>
                  <a:lnTo>
                    <a:pt x="9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1"/>
                  </a:lnTo>
                  <a:lnTo>
                    <a:pt x="46" y="3"/>
                  </a:lnTo>
                  <a:lnTo>
                    <a:pt x="52" y="6"/>
                  </a:lnTo>
                  <a:lnTo>
                    <a:pt x="56" y="10"/>
                  </a:lnTo>
                  <a:lnTo>
                    <a:pt x="60" y="15"/>
                  </a:lnTo>
                  <a:lnTo>
                    <a:pt x="63" y="21"/>
                  </a:lnTo>
                  <a:lnTo>
                    <a:pt x="65" y="27"/>
                  </a:lnTo>
                  <a:lnTo>
                    <a:pt x="66" y="33"/>
                  </a:lnTo>
                  <a:lnTo>
                    <a:pt x="66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9" y="100"/>
                  </a:lnTo>
                  <a:lnTo>
                    <a:pt x="145" y="103"/>
                  </a:lnTo>
                  <a:lnTo>
                    <a:pt x="151" y="106"/>
                  </a:lnTo>
                  <a:lnTo>
                    <a:pt x="155" y="109"/>
                  </a:lnTo>
                  <a:lnTo>
                    <a:pt x="159" y="114"/>
                  </a:lnTo>
                  <a:lnTo>
                    <a:pt x="163" y="120"/>
                  </a:lnTo>
                  <a:lnTo>
                    <a:pt x="165" y="126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5" y="140"/>
                  </a:lnTo>
                  <a:lnTo>
                    <a:pt x="163" y="146"/>
                  </a:lnTo>
                  <a:lnTo>
                    <a:pt x="159" y="151"/>
                  </a:lnTo>
                  <a:lnTo>
                    <a:pt x="155" y="156"/>
                  </a:lnTo>
                  <a:lnTo>
                    <a:pt x="151" y="160"/>
                  </a:lnTo>
                  <a:lnTo>
                    <a:pt x="145" y="164"/>
                  </a:lnTo>
                  <a:lnTo>
                    <a:pt x="139" y="165"/>
                  </a:lnTo>
                  <a:lnTo>
                    <a:pt x="133" y="166"/>
                  </a:lnTo>
                  <a:lnTo>
                    <a:pt x="133" y="16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Rounded Rectangle 24">
            <a:extLst>
              <a:ext uri="{FF2B5EF4-FFF2-40B4-BE49-F238E27FC236}">
                <a16:creationId xmlns:a16="http://schemas.microsoft.com/office/drawing/2014/main" id="{0471E226-5285-4AE1-A3EA-AF258A104DB0}"/>
              </a:ext>
            </a:extLst>
          </p:cNvPr>
          <p:cNvSpPr/>
          <p:nvPr/>
        </p:nvSpPr>
        <p:spPr>
          <a:xfrm rot="2700000">
            <a:off x="6300969" y="5228259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9F7FF4A-6451-4D4F-BC9F-1A5513385D60}"/>
              </a:ext>
            </a:extLst>
          </p:cNvPr>
          <p:cNvGrpSpPr/>
          <p:nvPr/>
        </p:nvGrpSpPr>
        <p:grpSpPr>
          <a:xfrm>
            <a:off x="7492461" y="4974238"/>
            <a:ext cx="3097045" cy="1247345"/>
            <a:chOff x="7492461" y="4974238"/>
            <a:chExt cx="3097045" cy="124734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72871F5-784D-4C0E-AD48-5AFA43D91F60}"/>
                </a:ext>
              </a:extLst>
            </p:cNvPr>
            <p:cNvSpPr txBox="1"/>
            <p:nvPr/>
          </p:nvSpPr>
          <p:spPr>
            <a:xfrm>
              <a:off x="7492463" y="4974238"/>
              <a:ext cx="289423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B467ABF-22DE-4356-8DCE-B5101B47A2BF}"/>
                </a:ext>
              </a:extLst>
            </p:cNvPr>
            <p:cNvSpPr/>
            <p:nvPr/>
          </p:nvSpPr>
          <p:spPr>
            <a:xfrm>
              <a:off x="7492461" y="5359809"/>
              <a:ext cx="3097045" cy="86177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o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iu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emp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incididun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labor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et dolore magna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liqua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DB90937-5E74-4386-A2F0-7339CA5870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92464" y="5274745"/>
              <a:ext cx="3097042" cy="0"/>
            </a:xfrm>
            <a:prstGeom prst="line">
              <a:avLst/>
            </a:prstGeom>
            <a:ln>
              <a:solidFill>
                <a:srgbClr val="3057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E128AE2-A724-4362-A5BC-78883ED3AABB}"/>
              </a:ext>
            </a:extLst>
          </p:cNvPr>
          <p:cNvGrpSpPr/>
          <p:nvPr/>
        </p:nvGrpSpPr>
        <p:grpSpPr>
          <a:xfrm>
            <a:off x="6490439" y="5417729"/>
            <a:ext cx="360363" cy="360362"/>
            <a:chOff x="6994525" y="2528888"/>
            <a:chExt cx="360363" cy="360362"/>
          </a:xfrm>
        </p:grpSpPr>
        <p:sp>
          <p:nvSpPr>
            <p:cNvPr id="62" name="Freeform 54">
              <a:extLst>
                <a:ext uri="{FF2B5EF4-FFF2-40B4-BE49-F238E27FC236}">
                  <a16:creationId xmlns:a16="http://schemas.microsoft.com/office/drawing/2014/main" id="{930215F8-F8C4-4ADB-A918-47641F77F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9625" y="2724150"/>
              <a:ext cx="15875" cy="165100"/>
            </a:xfrm>
            <a:custGeom>
              <a:avLst/>
              <a:gdLst>
                <a:gd name="T0" fmla="*/ 33 w 66"/>
                <a:gd name="T1" fmla="*/ 727 h 727"/>
                <a:gd name="T2" fmla="*/ 33 w 66"/>
                <a:gd name="T3" fmla="*/ 727 h 727"/>
                <a:gd name="T4" fmla="*/ 27 w 66"/>
                <a:gd name="T5" fmla="*/ 727 h 727"/>
                <a:gd name="T6" fmla="*/ 21 w 66"/>
                <a:gd name="T7" fmla="*/ 725 h 727"/>
                <a:gd name="T8" fmla="*/ 15 w 66"/>
                <a:gd name="T9" fmla="*/ 721 h 727"/>
                <a:gd name="T10" fmla="*/ 9 w 66"/>
                <a:gd name="T11" fmla="*/ 717 h 727"/>
                <a:gd name="T12" fmla="*/ 6 w 66"/>
                <a:gd name="T13" fmla="*/ 712 h 727"/>
                <a:gd name="T14" fmla="*/ 3 w 66"/>
                <a:gd name="T15" fmla="*/ 707 h 727"/>
                <a:gd name="T16" fmla="*/ 1 w 66"/>
                <a:gd name="T17" fmla="*/ 701 h 727"/>
                <a:gd name="T18" fmla="*/ 0 w 66"/>
                <a:gd name="T19" fmla="*/ 695 h 727"/>
                <a:gd name="T20" fmla="*/ 0 w 66"/>
                <a:gd name="T21" fmla="*/ 33 h 727"/>
                <a:gd name="T22" fmla="*/ 0 w 66"/>
                <a:gd name="T23" fmla="*/ 33 h 727"/>
                <a:gd name="T24" fmla="*/ 1 w 66"/>
                <a:gd name="T25" fmla="*/ 26 h 727"/>
                <a:gd name="T26" fmla="*/ 3 w 66"/>
                <a:gd name="T27" fmla="*/ 20 h 727"/>
                <a:gd name="T28" fmla="*/ 6 w 66"/>
                <a:gd name="T29" fmla="*/ 15 h 727"/>
                <a:gd name="T30" fmla="*/ 9 w 66"/>
                <a:gd name="T31" fmla="*/ 10 h 727"/>
                <a:gd name="T32" fmla="*/ 15 w 66"/>
                <a:gd name="T33" fmla="*/ 5 h 727"/>
                <a:gd name="T34" fmla="*/ 21 w 66"/>
                <a:gd name="T35" fmla="*/ 2 h 727"/>
                <a:gd name="T36" fmla="*/ 27 w 66"/>
                <a:gd name="T37" fmla="*/ 0 h 727"/>
                <a:gd name="T38" fmla="*/ 33 w 66"/>
                <a:gd name="T39" fmla="*/ 0 h 727"/>
                <a:gd name="T40" fmla="*/ 33 w 66"/>
                <a:gd name="T41" fmla="*/ 0 h 727"/>
                <a:gd name="T42" fmla="*/ 39 w 66"/>
                <a:gd name="T43" fmla="*/ 0 h 727"/>
                <a:gd name="T44" fmla="*/ 46 w 66"/>
                <a:gd name="T45" fmla="*/ 2 h 727"/>
                <a:gd name="T46" fmla="*/ 52 w 66"/>
                <a:gd name="T47" fmla="*/ 5 h 727"/>
                <a:gd name="T48" fmla="*/ 57 w 66"/>
                <a:gd name="T49" fmla="*/ 10 h 727"/>
                <a:gd name="T50" fmla="*/ 61 w 66"/>
                <a:gd name="T51" fmla="*/ 15 h 727"/>
                <a:gd name="T52" fmla="*/ 63 w 66"/>
                <a:gd name="T53" fmla="*/ 20 h 727"/>
                <a:gd name="T54" fmla="*/ 65 w 66"/>
                <a:gd name="T55" fmla="*/ 26 h 727"/>
                <a:gd name="T56" fmla="*/ 66 w 66"/>
                <a:gd name="T57" fmla="*/ 33 h 727"/>
                <a:gd name="T58" fmla="*/ 66 w 66"/>
                <a:gd name="T59" fmla="*/ 695 h 727"/>
                <a:gd name="T60" fmla="*/ 66 w 66"/>
                <a:gd name="T61" fmla="*/ 695 h 727"/>
                <a:gd name="T62" fmla="*/ 65 w 66"/>
                <a:gd name="T63" fmla="*/ 701 h 727"/>
                <a:gd name="T64" fmla="*/ 63 w 66"/>
                <a:gd name="T65" fmla="*/ 707 h 727"/>
                <a:gd name="T66" fmla="*/ 61 w 66"/>
                <a:gd name="T67" fmla="*/ 712 h 727"/>
                <a:gd name="T68" fmla="*/ 57 w 66"/>
                <a:gd name="T69" fmla="*/ 717 h 727"/>
                <a:gd name="T70" fmla="*/ 52 w 66"/>
                <a:gd name="T71" fmla="*/ 721 h 727"/>
                <a:gd name="T72" fmla="*/ 46 w 66"/>
                <a:gd name="T73" fmla="*/ 725 h 727"/>
                <a:gd name="T74" fmla="*/ 39 w 66"/>
                <a:gd name="T75" fmla="*/ 727 h 727"/>
                <a:gd name="T76" fmla="*/ 33 w 66"/>
                <a:gd name="T77" fmla="*/ 727 h 727"/>
                <a:gd name="T78" fmla="*/ 33 w 66"/>
                <a:gd name="T79" fmla="*/ 727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27">
                  <a:moveTo>
                    <a:pt x="33" y="727"/>
                  </a:moveTo>
                  <a:lnTo>
                    <a:pt x="33" y="727"/>
                  </a:lnTo>
                  <a:lnTo>
                    <a:pt x="27" y="727"/>
                  </a:lnTo>
                  <a:lnTo>
                    <a:pt x="21" y="725"/>
                  </a:lnTo>
                  <a:lnTo>
                    <a:pt x="15" y="721"/>
                  </a:lnTo>
                  <a:lnTo>
                    <a:pt x="9" y="717"/>
                  </a:lnTo>
                  <a:lnTo>
                    <a:pt x="6" y="712"/>
                  </a:lnTo>
                  <a:lnTo>
                    <a:pt x="3" y="707"/>
                  </a:lnTo>
                  <a:lnTo>
                    <a:pt x="1" y="701"/>
                  </a:lnTo>
                  <a:lnTo>
                    <a:pt x="0" y="69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5"/>
                  </a:lnTo>
                  <a:lnTo>
                    <a:pt x="9" y="10"/>
                  </a:lnTo>
                  <a:lnTo>
                    <a:pt x="15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7" y="10"/>
                  </a:lnTo>
                  <a:lnTo>
                    <a:pt x="61" y="15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695"/>
                  </a:lnTo>
                  <a:lnTo>
                    <a:pt x="66" y="695"/>
                  </a:lnTo>
                  <a:lnTo>
                    <a:pt x="65" y="701"/>
                  </a:lnTo>
                  <a:lnTo>
                    <a:pt x="63" y="707"/>
                  </a:lnTo>
                  <a:lnTo>
                    <a:pt x="61" y="712"/>
                  </a:lnTo>
                  <a:lnTo>
                    <a:pt x="57" y="717"/>
                  </a:lnTo>
                  <a:lnTo>
                    <a:pt x="52" y="721"/>
                  </a:lnTo>
                  <a:lnTo>
                    <a:pt x="46" y="725"/>
                  </a:lnTo>
                  <a:lnTo>
                    <a:pt x="39" y="727"/>
                  </a:lnTo>
                  <a:lnTo>
                    <a:pt x="33" y="727"/>
                  </a:lnTo>
                  <a:lnTo>
                    <a:pt x="33" y="727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5">
              <a:extLst>
                <a:ext uri="{FF2B5EF4-FFF2-40B4-BE49-F238E27FC236}">
                  <a16:creationId xmlns:a16="http://schemas.microsoft.com/office/drawing/2014/main" id="{2C45F6C7-9878-4A3F-8F1C-E85375E86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4525" y="2528888"/>
              <a:ext cx="360363" cy="211138"/>
            </a:xfrm>
            <a:custGeom>
              <a:avLst/>
              <a:gdLst>
                <a:gd name="T0" fmla="*/ 1199 w 1587"/>
                <a:gd name="T1" fmla="*/ 912 h 927"/>
                <a:gd name="T2" fmla="*/ 1094 w 1587"/>
                <a:gd name="T3" fmla="*/ 853 h 927"/>
                <a:gd name="T4" fmla="*/ 1000 w 1587"/>
                <a:gd name="T5" fmla="*/ 876 h 927"/>
                <a:gd name="T6" fmla="*/ 756 w 1587"/>
                <a:gd name="T7" fmla="*/ 923 h 927"/>
                <a:gd name="T8" fmla="*/ 579 w 1587"/>
                <a:gd name="T9" fmla="*/ 874 h 927"/>
                <a:gd name="T10" fmla="*/ 417 w 1587"/>
                <a:gd name="T11" fmla="*/ 922 h 927"/>
                <a:gd name="T12" fmla="*/ 273 w 1587"/>
                <a:gd name="T13" fmla="*/ 914 h 927"/>
                <a:gd name="T14" fmla="*/ 146 w 1587"/>
                <a:gd name="T15" fmla="*/ 854 h 927"/>
                <a:gd name="T16" fmla="*/ 52 w 1587"/>
                <a:gd name="T17" fmla="*/ 751 h 927"/>
                <a:gd name="T18" fmla="*/ 4 w 1587"/>
                <a:gd name="T19" fmla="*/ 618 h 927"/>
                <a:gd name="T20" fmla="*/ 9 w 1587"/>
                <a:gd name="T21" fmla="*/ 484 h 927"/>
                <a:gd name="T22" fmla="*/ 72 w 1587"/>
                <a:gd name="T23" fmla="*/ 346 h 927"/>
                <a:gd name="T24" fmla="*/ 184 w 1587"/>
                <a:gd name="T25" fmla="*/ 246 h 927"/>
                <a:gd name="T26" fmla="*/ 330 w 1587"/>
                <a:gd name="T27" fmla="*/ 200 h 927"/>
                <a:gd name="T28" fmla="*/ 466 w 1587"/>
                <a:gd name="T29" fmla="*/ 137 h 927"/>
                <a:gd name="T30" fmla="*/ 654 w 1587"/>
                <a:gd name="T31" fmla="*/ 22 h 927"/>
                <a:gd name="T32" fmla="*/ 832 w 1587"/>
                <a:gd name="T33" fmla="*/ 3 h 927"/>
                <a:gd name="T34" fmla="*/ 976 w 1587"/>
                <a:gd name="T35" fmla="*/ 39 h 927"/>
                <a:gd name="T36" fmla="*/ 1101 w 1587"/>
                <a:gd name="T37" fmla="*/ 118 h 927"/>
                <a:gd name="T38" fmla="*/ 1194 w 1587"/>
                <a:gd name="T39" fmla="*/ 232 h 927"/>
                <a:gd name="T40" fmla="*/ 1263 w 1587"/>
                <a:gd name="T41" fmla="*/ 333 h 927"/>
                <a:gd name="T42" fmla="*/ 1378 w 1587"/>
                <a:gd name="T43" fmla="*/ 345 h 927"/>
                <a:gd name="T44" fmla="*/ 1478 w 1587"/>
                <a:gd name="T45" fmla="*/ 399 h 927"/>
                <a:gd name="T46" fmla="*/ 1551 w 1587"/>
                <a:gd name="T47" fmla="*/ 487 h 927"/>
                <a:gd name="T48" fmla="*/ 1585 w 1587"/>
                <a:gd name="T49" fmla="*/ 599 h 927"/>
                <a:gd name="T50" fmla="*/ 1578 w 1587"/>
                <a:gd name="T51" fmla="*/ 703 h 927"/>
                <a:gd name="T52" fmla="*/ 1527 w 1587"/>
                <a:gd name="T53" fmla="*/ 806 h 927"/>
                <a:gd name="T54" fmla="*/ 1443 w 1587"/>
                <a:gd name="T55" fmla="*/ 883 h 927"/>
                <a:gd name="T56" fmla="*/ 1335 w 1587"/>
                <a:gd name="T57" fmla="*/ 922 h 927"/>
                <a:gd name="T58" fmla="*/ 1080 w 1587"/>
                <a:gd name="T59" fmla="*/ 753 h 927"/>
                <a:gd name="T60" fmla="*/ 1131 w 1587"/>
                <a:gd name="T61" fmla="*/ 797 h 927"/>
                <a:gd name="T62" fmla="*/ 1222 w 1587"/>
                <a:gd name="T63" fmla="*/ 850 h 927"/>
                <a:gd name="T64" fmla="*/ 1336 w 1587"/>
                <a:gd name="T65" fmla="*/ 855 h 927"/>
                <a:gd name="T66" fmla="*/ 1480 w 1587"/>
                <a:gd name="T67" fmla="*/ 758 h 927"/>
                <a:gd name="T68" fmla="*/ 1520 w 1587"/>
                <a:gd name="T69" fmla="*/ 605 h 927"/>
                <a:gd name="T70" fmla="*/ 1436 w 1587"/>
                <a:gd name="T71" fmla="*/ 451 h 927"/>
                <a:gd name="T72" fmla="*/ 1289 w 1587"/>
                <a:gd name="T73" fmla="*/ 397 h 927"/>
                <a:gd name="T74" fmla="*/ 1203 w 1587"/>
                <a:gd name="T75" fmla="*/ 406 h 927"/>
                <a:gd name="T76" fmla="*/ 1177 w 1587"/>
                <a:gd name="T77" fmla="*/ 365 h 927"/>
                <a:gd name="T78" fmla="*/ 1122 w 1587"/>
                <a:gd name="T79" fmla="*/ 242 h 927"/>
                <a:gd name="T80" fmla="*/ 1030 w 1587"/>
                <a:gd name="T81" fmla="*/ 145 h 927"/>
                <a:gd name="T82" fmla="*/ 911 w 1587"/>
                <a:gd name="T83" fmla="*/ 85 h 927"/>
                <a:gd name="T84" fmla="*/ 793 w 1587"/>
                <a:gd name="T85" fmla="*/ 67 h 927"/>
                <a:gd name="T86" fmla="*/ 600 w 1587"/>
                <a:gd name="T87" fmla="*/ 116 h 927"/>
                <a:gd name="T88" fmla="*/ 456 w 1587"/>
                <a:gd name="T89" fmla="*/ 256 h 927"/>
                <a:gd name="T90" fmla="*/ 426 w 1587"/>
                <a:gd name="T91" fmla="*/ 272 h 927"/>
                <a:gd name="T92" fmla="*/ 317 w 1587"/>
                <a:gd name="T93" fmla="*/ 268 h 927"/>
                <a:gd name="T94" fmla="*/ 197 w 1587"/>
                <a:gd name="T95" fmla="*/ 315 h 927"/>
                <a:gd name="T96" fmla="*/ 110 w 1587"/>
                <a:gd name="T97" fmla="*/ 406 h 927"/>
                <a:gd name="T98" fmla="*/ 68 w 1587"/>
                <a:gd name="T99" fmla="*/ 529 h 927"/>
                <a:gd name="T100" fmla="*/ 75 w 1587"/>
                <a:gd name="T101" fmla="*/ 637 h 927"/>
                <a:gd name="T102" fmla="*/ 125 w 1587"/>
                <a:gd name="T103" fmla="*/ 740 h 927"/>
                <a:gd name="T104" fmla="*/ 210 w 1587"/>
                <a:gd name="T105" fmla="*/ 817 h 927"/>
                <a:gd name="T106" fmla="*/ 318 w 1587"/>
                <a:gd name="T107" fmla="*/ 856 h 927"/>
                <a:gd name="T108" fmla="*/ 458 w 1587"/>
                <a:gd name="T109" fmla="*/ 845 h 927"/>
                <a:gd name="T110" fmla="*/ 556 w 1587"/>
                <a:gd name="T111" fmla="*/ 793 h 927"/>
                <a:gd name="T112" fmla="*/ 608 w 1587"/>
                <a:gd name="T113" fmla="*/ 814 h 927"/>
                <a:gd name="T114" fmla="*/ 729 w 1587"/>
                <a:gd name="T115" fmla="*/ 853 h 927"/>
                <a:gd name="T116" fmla="*/ 946 w 1587"/>
                <a:gd name="T117" fmla="*/ 828 h 927"/>
                <a:gd name="T118" fmla="*/ 1055 w 1587"/>
                <a:gd name="T119" fmla="*/ 761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87" h="927">
                  <a:moveTo>
                    <a:pt x="1289" y="927"/>
                  </a:moveTo>
                  <a:lnTo>
                    <a:pt x="1289" y="927"/>
                  </a:lnTo>
                  <a:lnTo>
                    <a:pt x="1273" y="925"/>
                  </a:lnTo>
                  <a:lnTo>
                    <a:pt x="1258" y="924"/>
                  </a:lnTo>
                  <a:lnTo>
                    <a:pt x="1243" y="922"/>
                  </a:lnTo>
                  <a:lnTo>
                    <a:pt x="1228" y="920"/>
                  </a:lnTo>
                  <a:lnTo>
                    <a:pt x="1213" y="916"/>
                  </a:lnTo>
                  <a:lnTo>
                    <a:pt x="1199" y="912"/>
                  </a:lnTo>
                  <a:lnTo>
                    <a:pt x="1184" y="907"/>
                  </a:lnTo>
                  <a:lnTo>
                    <a:pt x="1170" y="902"/>
                  </a:lnTo>
                  <a:lnTo>
                    <a:pt x="1157" y="895"/>
                  </a:lnTo>
                  <a:lnTo>
                    <a:pt x="1143" y="888"/>
                  </a:lnTo>
                  <a:lnTo>
                    <a:pt x="1131" y="881"/>
                  </a:lnTo>
                  <a:lnTo>
                    <a:pt x="1118" y="872"/>
                  </a:lnTo>
                  <a:lnTo>
                    <a:pt x="1106" y="863"/>
                  </a:lnTo>
                  <a:lnTo>
                    <a:pt x="1094" y="853"/>
                  </a:lnTo>
                  <a:lnTo>
                    <a:pt x="1083" y="843"/>
                  </a:lnTo>
                  <a:lnTo>
                    <a:pt x="1073" y="832"/>
                  </a:lnTo>
                  <a:lnTo>
                    <a:pt x="1073" y="832"/>
                  </a:lnTo>
                  <a:lnTo>
                    <a:pt x="1058" y="842"/>
                  </a:lnTo>
                  <a:lnTo>
                    <a:pt x="1045" y="851"/>
                  </a:lnTo>
                  <a:lnTo>
                    <a:pt x="1030" y="860"/>
                  </a:lnTo>
                  <a:lnTo>
                    <a:pt x="1016" y="869"/>
                  </a:lnTo>
                  <a:lnTo>
                    <a:pt x="1000" y="876"/>
                  </a:lnTo>
                  <a:lnTo>
                    <a:pt x="986" y="883"/>
                  </a:lnTo>
                  <a:lnTo>
                    <a:pt x="955" y="895"/>
                  </a:lnTo>
                  <a:lnTo>
                    <a:pt x="923" y="906"/>
                  </a:lnTo>
                  <a:lnTo>
                    <a:pt x="890" y="914"/>
                  </a:lnTo>
                  <a:lnTo>
                    <a:pt x="856" y="920"/>
                  </a:lnTo>
                  <a:lnTo>
                    <a:pt x="823" y="923"/>
                  </a:lnTo>
                  <a:lnTo>
                    <a:pt x="790" y="924"/>
                  </a:lnTo>
                  <a:lnTo>
                    <a:pt x="756" y="923"/>
                  </a:lnTo>
                  <a:lnTo>
                    <a:pt x="723" y="919"/>
                  </a:lnTo>
                  <a:lnTo>
                    <a:pt x="690" y="913"/>
                  </a:lnTo>
                  <a:lnTo>
                    <a:pt x="658" y="905"/>
                  </a:lnTo>
                  <a:lnTo>
                    <a:pt x="641" y="900"/>
                  </a:lnTo>
                  <a:lnTo>
                    <a:pt x="626" y="894"/>
                  </a:lnTo>
                  <a:lnTo>
                    <a:pt x="610" y="888"/>
                  </a:lnTo>
                  <a:lnTo>
                    <a:pt x="595" y="881"/>
                  </a:lnTo>
                  <a:lnTo>
                    <a:pt x="579" y="874"/>
                  </a:lnTo>
                  <a:lnTo>
                    <a:pt x="565" y="865"/>
                  </a:lnTo>
                  <a:lnTo>
                    <a:pt x="565" y="865"/>
                  </a:lnTo>
                  <a:lnTo>
                    <a:pt x="542" y="879"/>
                  </a:lnTo>
                  <a:lnTo>
                    <a:pt x="518" y="891"/>
                  </a:lnTo>
                  <a:lnTo>
                    <a:pt x="493" y="902"/>
                  </a:lnTo>
                  <a:lnTo>
                    <a:pt x="468" y="911"/>
                  </a:lnTo>
                  <a:lnTo>
                    <a:pt x="442" y="917"/>
                  </a:lnTo>
                  <a:lnTo>
                    <a:pt x="417" y="922"/>
                  </a:lnTo>
                  <a:lnTo>
                    <a:pt x="391" y="925"/>
                  </a:lnTo>
                  <a:lnTo>
                    <a:pt x="364" y="927"/>
                  </a:lnTo>
                  <a:lnTo>
                    <a:pt x="364" y="927"/>
                  </a:lnTo>
                  <a:lnTo>
                    <a:pt x="345" y="925"/>
                  </a:lnTo>
                  <a:lnTo>
                    <a:pt x="327" y="924"/>
                  </a:lnTo>
                  <a:lnTo>
                    <a:pt x="308" y="922"/>
                  </a:lnTo>
                  <a:lnTo>
                    <a:pt x="290" y="918"/>
                  </a:lnTo>
                  <a:lnTo>
                    <a:pt x="273" y="914"/>
                  </a:lnTo>
                  <a:lnTo>
                    <a:pt x="255" y="910"/>
                  </a:lnTo>
                  <a:lnTo>
                    <a:pt x="239" y="904"/>
                  </a:lnTo>
                  <a:lnTo>
                    <a:pt x="222" y="898"/>
                  </a:lnTo>
                  <a:lnTo>
                    <a:pt x="205" y="890"/>
                  </a:lnTo>
                  <a:lnTo>
                    <a:pt x="190" y="882"/>
                  </a:lnTo>
                  <a:lnTo>
                    <a:pt x="175" y="874"/>
                  </a:lnTo>
                  <a:lnTo>
                    <a:pt x="160" y="863"/>
                  </a:lnTo>
                  <a:lnTo>
                    <a:pt x="146" y="854"/>
                  </a:lnTo>
                  <a:lnTo>
                    <a:pt x="132" y="843"/>
                  </a:lnTo>
                  <a:lnTo>
                    <a:pt x="120" y="831"/>
                  </a:lnTo>
                  <a:lnTo>
                    <a:pt x="106" y="820"/>
                  </a:lnTo>
                  <a:lnTo>
                    <a:pt x="95" y="806"/>
                  </a:lnTo>
                  <a:lnTo>
                    <a:pt x="83" y="794"/>
                  </a:lnTo>
                  <a:lnTo>
                    <a:pt x="72" y="780"/>
                  </a:lnTo>
                  <a:lnTo>
                    <a:pt x="62" y="766"/>
                  </a:lnTo>
                  <a:lnTo>
                    <a:pt x="52" y="751"/>
                  </a:lnTo>
                  <a:lnTo>
                    <a:pt x="44" y="736"/>
                  </a:lnTo>
                  <a:lnTo>
                    <a:pt x="36" y="720"/>
                  </a:lnTo>
                  <a:lnTo>
                    <a:pt x="29" y="704"/>
                  </a:lnTo>
                  <a:lnTo>
                    <a:pt x="22" y="687"/>
                  </a:lnTo>
                  <a:lnTo>
                    <a:pt x="16" y="671"/>
                  </a:lnTo>
                  <a:lnTo>
                    <a:pt x="11" y="653"/>
                  </a:lnTo>
                  <a:lnTo>
                    <a:pt x="7" y="636"/>
                  </a:lnTo>
                  <a:lnTo>
                    <a:pt x="4" y="618"/>
                  </a:lnTo>
                  <a:lnTo>
                    <a:pt x="2" y="600"/>
                  </a:lnTo>
                  <a:lnTo>
                    <a:pt x="1" y="581"/>
                  </a:lnTo>
                  <a:lnTo>
                    <a:pt x="0" y="562"/>
                  </a:lnTo>
                  <a:lnTo>
                    <a:pt x="0" y="562"/>
                  </a:lnTo>
                  <a:lnTo>
                    <a:pt x="1" y="543"/>
                  </a:lnTo>
                  <a:lnTo>
                    <a:pt x="2" y="523"/>
                  </a:lnTo>
                  <a:lnTo>
                    <a:pt x="5" y="503"/>
                  </a:lnTo>
                  <a:lnTo>
                    <a:pt x="9" y="484"/>
                  </a:lnTo>
                  <a:lnTo>
                    <a:pt x="13" y="465"/>
                  </a:lnTo>
                  <a:lnTo>
                    <a:pt x="19" y="446"/>
                  </a:lnTo>
                  <a:lnTo>
                    <a:pt x="25" y="429"/>
                  </a:lnTo>
                  <a:lnTo>
                    <a:pt x="33" y="411"/>
                  </a:lnTo>
                  <a:lnTo>
                    <a:pt x="41" y="394"/>
                  </a:lnTo>
                  <a:lnTo>
                    <a:pt x="50" y="377"/>
                  </a:lnTo>
                  <a:lnTo>
                    <a:pt x="61" y="361"/>
                  </a:lnTo>
                  <a:lnTo>
                    <a:pt x="72" y="346"/>
                  </a:lnTo>
                  <a:lnTo>
                    <a:pt x="83" y="331"/>
                  </a:lnTo>
                  <a:lnTo>
                    <a:pt x="96" y="316"/>
                  </a:lnTo>
                  <a:lnTo>
                    <a:pt x="108" y="303"/>
                  </a:lnTo>
                  <a:lnTo>
                    <a:pt x="123" y="290"/>
                  </a:lnTo>
                  <a:lnTo>
                    <a:pt x="137" y="278"/>
                  </a:lnTo>
                  <a:lnTo>
                    <a:pt x="152" y="266"/>
                  </a:lnTo>
                  <a:lnTo>
                    <a:pt x="167" y="256"/>
                  </a:lnTo>
                  <a:lnTo>
                    <a:pt x="184" y="246"/>
                  </a:lnTo>
                  <a:lnTo>
                    <a:pt x="200" y="237"/>
                  </a:lnTo>
                  <a:lnTo>
                    <a:pt x="218" y="229"/>
                  </a:lnTo>
                  <a:lnTo>
                    <a:pt x="235" y="222"/>
                  </a:lnTo>
                  <a:lnTo>
                    <a:pt x="253" y="216"/>
                  </a:lnTo>
                  <a:lnTo>
                    <a:pt x="272" y="210"/>
                  </a:lnTo>
                  <a:lnTo>
                    <a:pt x="291" y="205"/>
                  </a:lnTo>
                  <a:lnTo>
                    <a:pt x="310" y="202"/>
                  </a:lnTo>
                  <a:lnTo>
                    <a:pt x="330" y="200"/>
                  </a:lnTo>
                  <a:lnTo>
                    <a:pt x="350" y="199"/>
                  </a:lnTo>
                  <a:lnTo>
                    <a:pt x="370" y="199"/>
                  </a:lnTo>
                  <a:lnTo>
                    <a:pt x="391" y="200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29" y="179"/>
                  </a:lnTo>
                  <a:lnTo>
                    <a:pt x="447" y="157"/>
                  </a:lnTo>
                  <a:lnTo>
                    <a:pt x="466" y="137"/>
                  </a:lnTo>
                  <a:lnTo>
                    <a:pt x="486" y="117"/>
                  </a:lnTo>
                  <a:lnTo>
                    <a:pt x="508" y="100"/>
                  </a:lnTo>
                  <a:lnTo>
                    <a:pt x="529" y="83"/>
                  </a:lnTo>
                  <a:lnTo>
                    <a:pt x="553" y="68"/>
                  </a:lnTo>
                  <a:lnTo>
                    <a:pt x="577" y="54"/>
                  </a:lnTo>
                  <a:lnTo>
                    <a:pt x="602" y="42"/>
                  </a:lnTo>
                  <a:lnTo>
                    <a:pt x="628" y="30"/>
                  </a:lnTo>
                  <a:lnTo>
                    <a:pt x="654" y="22"/>
                  </a:lnTo>
                  <a:lnTo>
                    <a:pt x="680" y="14"/>
                  </a:lnTo>
                  <a:lnTo>
                    <a:pt x="708" y="9"/>
                  </a:lnTo>
                  <a:lnTo>
                    <a:pt x="736" y="4"/>
                  </a:lnTo>
                  <a:lnTo>
                    <a:pt x="764" y="1"/>
                  </a:lnTo>
                  <a:lnTo>
                    <a:pt x="793" y="0"/>
                  </a:lnTo>
                  <a:lnTo>
                    <a:pt x="793" y="0"/>
                  </a:lnTo>
                  <a:lnTo>
                    <a:pt x="813" y="1"/>
                  </a:lnTo>
                  <a:lnTo>
                    <a:pt x="832" y="3"/>
                  </a:lnTo>
                  <a:lnTo>
                    <a:pt x="850" y="5"/>
                  </a:lnTo>
                  <a:lnTo>
                    <a:pt x="870" y="7"/>
                  </a:lnTo>
                  <a:lnTo>
                    <a:pt x="887" y="11"/>
                  </a:lnTo>
                  <a:lnTo>
                    <a:pt x="906" y="15"/>
                  </a:lnTo>
                  <a:lnTo>
                    <a:pt x="925" y="20"/>
                  </a:lnTo>
                  <a:lnTo>
                    <a:pt x="942" y="25"/>
                  </a:lnTo>
                  <a:lnTo>
                    <a:pt x="960" y="31"/>
                  </a:lnTo>
                  <a:lnTo>
                    <a:pt x="976" y="39"/>
                  </a:lnTo>
                  <a:lnTo>
                    <a:pt x="993" y="47"/>
                  </a:lnTo>
                  <a:lnTo>
                    <a:pt x="1010" y="55"/>
                  </a:lnTo>
                  <a:lnTo>
                    <a:pt x="1026" y="64"/>
                  </a:lnTo>
                  <a:lnTo>
                    <a:pt x="1042" y="74"/>
                  </a:lnTo>
                  <a:lnTo>
                    <a:pt x="1057" y="84"/>
                  </a:lnTo>
                  <a:lnTo>
                    <a:pt x="1072" y="95"/>
                  </a:lnTo>
                  <a:lnTo>
                    <a:pt x="1086" y="106"/>
                  </a:lnTo>
                  <a:lnTo>
                    <a:pt x="1101" y="118"/>
                  </a:lnTo>
                  <a:lnTo>
                    <a:pt x="1114" y="131"/>
                  </a:lnTo>
                  <a:lnTo>
                    <a:pt x="1128" y="143"/>
                  </a:lnTo>
                  <a:lnTo>
                    <a:pt x="1140" y="157"/>
                  </a:lnTo>
                  <a:lnTo>
                    <a:pt x="1151" y="171"/>
                  </a:lnTo>
                  <a:lnTo>
                    <a:pt x="1163" y="186"/>
                  </a:lnTo>
                  <a:lnTo>
                    <a:pt x="1174" y="200"/>
                  </a:lnTo>
                  <a:lnTo>
                    <a:pt x="1184" y="216"/>
                  </a:lnTo>
                  <a:lnTo>
                    <a:pt x="1194" y="232"/>
                  </a:lnTo>
                  <a:lnTo>
                    <a:pt x="1203" y="248"/>
                  </a:lnTo>
                  <a:lnTo>
                    <a:pt x="1211" y="265"/>
                  </a:lnTo>
                  <a:lnTo>
                    <a:pt x="1219" y="282"/>
                  </a:lnTo>
                  <a:lnTo>
                    <a:pt x="1226" y="299"/>
                  </a:lnTo>
                  <a:lnTo>
                    <a:pt x="1232" y="317"/>
                  </a:lnTo>
                  <a:lnTo>
                    <a:pt x="1238" y="336"/>
                  </a:lnTo>
                  <a:lnTo>
                    <a:pt x="1238" y="336"/>
                  </a:lnTo>
                  <a:lnTo>
                    <a:pt x="1263" y="333"/>
                  </a:lnTo>
                  <a:lnTo>
                    <a:pt x="1289" y="332"/>
                  </a:lnTo>
                  <a:lnTo>
                    <a:pt x="1289" y="332"/>
                  </a:lnTo>
                  <a:lnTo>
                    <a:pt x="1305" y="332"/>
                  </a:lnTo>
                  <a:lnTo>
                    <a:pt x="1319" y="333"/>
                  </a:lnTo>
                  <a:lnTo>
                    <a:pt x="1335" y="335"/>
                  </a:lnTo>
                  <a:lnTo>
                    <a:pt x="1349" y="337"/>
                  </a:lnTo>
                  <a:lnTo>
                    <a:pt x="1363" y="341"/>
                  </a:lnTo>
                  <a:lnTo>
                    <a:pt x="1378" y="345"/>
                  </a:lnTo>
                  <a:lnTo>
                    <a:pt x="1391" y="349"/>
                  </a:lnTo>
                  <a:lnTo>
                    <a:pt x="1405" y="354"/>
                  </a:lnTo>
                  <a:lnTo>
                    <a:pt x="1418" y="361"/>
                  </a:lnTo>
                  <a:lnTo>
                    <a:pt x="1431" y="367"/>
                  </a:lnTo>
                  <a:lnTo>
                    <a:pt x="1443" y="374"/>
                  </a:lnTo>
                  <a:lnTo>
                    <a:pt x="1456" y="382"/>
                  </a:lnTo>
                  <a:lnTo>
                    <a:pt x="1467" y="391"/>
                  </a:lnTo>
                  <a:lnTo>
                    <a:pt x="1478" y="399"/>
                  </a:lnTo>
                  <a:lnTo>
                    <a:pt x="1489" y="408"/>
                  </a:lnTo>
                  <a:lnTo>
                    <a:pt x="1499" y="418"/>
                  </a:lnTo>
                  <a:lnTo>
                    <a:pt x="1509" y="429"/>
                  </a:lnTo>
                  <a:lnTo>
                    <a:pt x="1519" y="439"/>
                  </a:lnTo>
                  <a:lnTo>
                    <a:pt x="1527" y="451"/>
                  </a:lnTo>
                  <a:lnTo>
                    <a:pt x="1535" y="462"/>
                  </a:lnTo>
                  <a:lnTo>
                    <a:pt x="1544" y="474"/>
                  </a:lnTo>
                  <a:lnTo>
                    <a:pt x="1551" y="487"/>
                  </a:lnTo>
                  <a:lnTo>
                    <a:pt x="1557" y="500"/>
                  </a:lnTo>
                  <a:lnTo>
                    <a:pt x="1563" y="513"/>
                  </a:lnTo>
                  <a:lnTo>
                    <a:pt x="1568" y="526"/>
                  </a:lnTo>
                  <a:lnTo>
                    <a:pt x="1574" y="541"/>
                  </a:lnTo>
                  <a:lnTo>
                    <a:pt x="1578" y="554"/>
                  </a:lnTo>
                  <a:lnTo>
                    <a:pt x="1581" y="569"/>
                  </a:lnTo>
                  <a:lnTo>
                    <a:pt x="1583" y="583"/>
                  </a:lnTo>
                  <a:lnTo>
                    <a:pt x="1585" y="599"/>
                  </a:lnTo>
                  <a:lnTo>
                    <a:pt x="1586" y="613"/>
                  </a:lnTo>
                  <a:lnTo>
                    <a:pt x="1587" y="629"/>
                  </a:lnTo>
                  <a:lnTo>
                    <a:pt x="1587" y="629"/>
                  </a:lnTo>
                  <a:lnTo>
                    <a:pt x="1586" y="644"/>
                  </a:lnTo>
                  <a:lnTo>
                    <a:pt x="1585" y="659"/>
                  </a:lnTo>
                  <a:lnTo>
                    <a:pt x="1583" y="674"/>
                  </a:lnTo>
                  <a:lnTo>
                    <a:pt x="1581" y="689"/>
                  </a:lnTo>
                  <a:lnTo>
                    <a:pt x="1578" y="703"/>
                  </a:lnTo>
                  <a:lnTo>
                    <a:pt x="1574" y="716"/>
                  </a:lnTo>
                  <a:lnTo>
                    <a:pt x="1568" y="731"/>
                  </a:lnTo>
                  <a:lnTo>
                    <a:pt x="1563" y="744"/>
                  </a:lnTo>
                  <a:lnTo>
                    <a:pt x="1557" y="758"/>
                  </a:lnTo>
                  <a:lnTo>
                    <a:pt x="1551" y="770"/>
                  </a:lnTo>
                  <a:lnTo>
                    <a:pt x="1544" y="783"/>
                  </a:lnTo>
                  <a:lnTo>
                    <a:pt x="1535" y="795"/>
                  </a:lnTo>
                  <a:lnTo>
                    <a:pt x="1527" y="806"/>
                  </a:lnTo>
                  <a:lnTo>
                    <a:pt x="1519" y="818"/>
                  </a:lnTo>
                  <a:lnTo>
                    <a:pt x="1509" y="828"/>
                  </a:lnTo>
                  <a:lnTo>
                    <a:pt x="1499" y="839"/>
                  </a:lnTo>
                  <a:lnTo>
                    <a:pt x="1489" y="849"/>
                  </a:lnTo>
                  <a:lnTo>
                    <a:pt x="1478" y="858"/>
                  </a:lnTo>
                  <a:lnTo>
                    <a:pt x="1467" y="866"/>
                  </a:lnTo>
                  <a:lnTo>
                    <a:pt x="1456" y="875"/>
                  </a:lnTo>
                  <a:lnTo>
                    <a:pt x="1443" y="883"/>
                  </a:lnTo>
                  <a:lnTo>
                    <a:pt x="1431" y="890"/>
                  </a:lnTo>
                  <a:lnTo>
                    <a:pt x="1418" y="897"/>
                  </a:lnTo>
                  <a:lnTo>
                    <a:pt x="1405" y="903"/>
                  </a:lnTo>
                  <a:lnTo>
                    <a:pt x="1391" y="908"/>
                  </a:lnTo>
                  <a:lnTo>
                    <a:pt x="1378" y="913"/>
                  </a:lnTo>
                  <a:lnTo>
                    <a:pt x="1363" y="917"/>
                  </a:lnTo>
                  <a:lnTo>
                    <a:pt x="1349" y="920"/>
                  </a:lnTo>
                  <a:lnTo>
                    <a:pt x="1335" y="922"/>
                  </a:lnTo>
                  <a:lnTo>
                    <a:pt x="1319" y="924"/>
                  </a:lnTo>
                  <a:lnTo>
                    <a:pt x="1305" y="925"/>
                  </a:lnTo>
                  <a:lnTo>
                    <a:pt x="1289" y="927"/>
                  </a:lnTo>
                  <a:lnTo>
                    <a:pt x="1289" y="927"/>
                  </a:lnTo>
                  <a:close/>
                  <a:moveTo>
                    <a:pt x="1077" y="753"/>
                  </a:moveTo>
                  <a:lnTo>
                    <a:pt x="1077" y="753"/>
                  </a:lnTo>
                  <a:lnTo>
                    <a:pt x="1080" y="753"/>
                  </a:lnTo>
                  <a:lnTo>
                    <a:pt x="1080" y="753"/>
                  </a:lnTo>
                  <a:lnTo>
                    <a:pt x="1087" y="755"/>
                  </a:lnTo>
                  <a:lnTo>
                    <a:pt x="1093" y="757"/>
                  </a:lnTo>
                  <a:lnTo>
                    <a:pt x="1099" y="761"/>
                  </a:lnTo>
                  <a:lnTo>
                    <a:pt x="1104" y="766"/>
                  </a:lnTo>
                  <a:lnTo>
                    <a:pt x="1104" y="766"/>
                  </a:lnTo>
                  <a:lnTo>
                    <a:pt x="1112" y="776"/>
                  </a:lnTo>
                  <a:lnTo>
                    <a:pt x="1121" y="787"/>
                  </a:lnTo>
                  <a:lnTo>
                    <a:pt x="1131" y="797"/>
                  </a:lnTo>
                  <a:lnTo>
                    <a:pt x="1141" y="805"/>
                  </a:lnTo>
                  <a:lnTo>
                    <a:pt x="1151" y="815"/>
                  </a:lnTo>
                  <a:lnTo>
                    <a:pt x="1162" y="822"/>
                  </a:lnTo>
                  <a:lnTo>
                    <a:pt x="1173" y="829"/>
                  </a:lnTo>
                  <a:lnTo>
                    <a:pt x="1185" y="835"/>
                  </a:lnTo>
                  <a:lnTo>
                    <a:pt x="1197" y="841"/>
                  </a:lnTo>
                  <a:lnTo>
                    <a:pt x="1209" y="846"/>
                  </a:lnTo>
                  <a:lnTo>
                    <a:pt x="1222" y="850"/>
                  </a:lnTo>
                  <a:lnTo>
                    <a:pt x="1235" y="854"/>
                  </a:lnTo>
                  <a:lnTo>
                    <a:pt x="1249" y="856"/>
                  </a:lnTo>
                  <a:lnTo>
                    <a:pt x="1262" y="858"/>
                  </a:lnTo>
                  <a:lnTo>
                    <a:pt x="1276" y="859"/>
                  </a:lnTo>
                  <a:lnTo>
                    <a:pt x="1289" y="860"/>
                  </a:lnTo>
                  <a:lnTo>
                    <a:pt x="1289" y="860"/>
                  </a:lnTo>
                  <a:lnTo>
                    <a:pt x="1313" y="859"/>
                  </a:lnTo>
                  <a:lnTo>
                    <a:pt x="1336" y="855"/>
                  </a:lnTo>
                  <a:lnTo>
                    <a:pt x="1358" y="850"/>
                  </a:lnTo>
                  <a:lnTo>
                    <a:pt x="1379" y="842"/>
                  </a:lnTo>
                  <a:lnTo>
                    <a:pt x="1400" y="832"/>
                  </a:lnTo>
                  <a:lnTo>
                    <a:pt x="1418" y="820"/>
                  </a:lnTo>
                  <a:lnTo>
                    <a:pt x="1436" y="808"/>
                  </a:lnTo>
                  <a:lnTo>
                    <a:pt x="1452" y="792"/>
                  </a:lnTo>
                  <a:lnTo>
                    <a:pt x="1468" y="775"/>
                  </a:lnTo>
                  <a:lnTo>
                    <a:pt x="1480" y="758"/>
                  </a:lnTo>
                  <a:lnTo>
                    <a:pt x="1493" y="739"/>
                  </a:lnTo>
                  <a:lnTo>
                    <a:pt x="1502" y="719"/>
                  </a:lnTo>
                  <a:lnTo>
                    <a:pt x="1510" y="697"/>
                  </a:lnTo>
                  <a:lnTo>
                    <a:pt x="1516" y="675"/>
                  </a:lnTo>
                  <a:lnTo>
                    <a:pt x="1520" y="652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0" y="605"/>
                  </a:lnTo>
                  <a:lnTo>
                    <a:pt x="1516" y="582"/>
                  </a:lnTo>
                  <a:lnTo>
                    <a:pt x="1510" y="560"/>
                  </a:lnTo>
                  <a:lnTo>
                    <a:pt x="1502" y="538"/>
                  </a:lnTo>
                  <a:lnTo>
                    <a:pt x="1493" y="519"/>
                  </a:lnTo>
                  <a:lnTo>
                    <a:pt x="1480" y="499"/>
                  </a:lnTo>
                  <a:lnTo>
                    <a:pt x="1468" y="482"/>
                  </a:lnTo>
                  <a:lnTo>
                    <a:pt x="1452" y="465"/>
                  </a:lnTo>
                  <a:lnTo>
                    <a:pt x="1436" y="451"/>
                  </a:lnTo>
                  <a:lnTo>
                    <a:pt x="1418" y="437"/>
                  </a:lnTo>
                  <a:lnTo>
                    <a:pt x="1400" y="425"/>
                  </a:lnTo>
                  <a:lnTo>
                    <a:pt x="1379" y="415"/>
                  </a:lnTo>
                  <a:lnTo>
                    <a:pt x="1358" y="408"/>
                  </a:lnTo>
                  <a:lnTo>
                    <a:pt x="1336" y="402"/>
                  </a:lnTo>
                  <a:lnTo>
                    <a:pt x="1313" y="399"/>
                  </a:lnTo>
                  <a:lnTo>
                    <a:pt x="1289" y="397"/>
                  </a:lnTo>
                  <a:lnTo>
                    <a:pt x="1289" y="397"/>
                  </a:lnTo>
                  <a:lnTo>
                    <a:pt x="1272" y="398"/>
                  </a:lnTo>
                  <a:lnTo>
                    <a:pt x="1256" y="400"/>
                  </a:lnTo>
                  <a:lnTo>
                    <a:pt x="1239" y="403"/>
                  </a:lnTo>
                  <a:lnTo>
                    <a:pt x="1224" y="407"/>
                  </a:lnTo>
                  <a:lnTo>
                    <a:pt x="1224" y="407"/>
                  </a:lnTo>
                  <a:lnTo>
                    <a:pt x="1217" y="408"/>
                  </a:lnTo>
                  <a:lnTo>
                    <a:pt x="1210" y="408"/>
                  </a:lnTo>
                  <a:lnTo>
                    <a:pt x="1203" y="406"/>
                  </a:lnTo>
                  <a:lnTo>
                    <a:pt x="1197" y="404"/>
                  </a:lnTo>
                  <a:lnTo>
                    <a:pt x="1197" y="404"/>
                  </a:lnTo>
                  <a:lnTo>
                    <a:pt x="1192" y="400"/>
                  </a:lnTo>
                  <a:lnTo>
                    <a:pt x="1187" y="395"/>
                  </a:lnTo>
                  <a:lnTo>
                    <a:pt x="1183" y="388"/>
                  </a:lnTo>
                  <a:lnTo>
                    <a:pt x="1181" y="382"/>
                  </a:lnTo>
                  <a:lnTo>
                    <a:pt x="1181" y="382"/>
                  </a:lnTo>
                  <a:lnTo>
                    <a:pt x="1177" y="365"/>
                  </a:lnTo>
                  <a:lnTo>
                    <a:pt x="1173" y="348"/>
                  </a:lnTo>
                  <a:lnTo>
                    <a:pt x="1168" y="332"/>
                  </a:lnTo>
                  <a:lnTo>
                    <a:pt x="1162" y="316"/>
                  </a:lnTo>
                  <a:lnTo>
                    <a:pt x="1154" y="301"/>
                  </a:lnTo>
                  <a:lnTo>
                    <a:pt x="1147" y="285"/>
                  </a:lnTo>
                  <a:lnTo>
                    <a:pt x="1140" y="271"/>
                  </a:lnTo>
                  <a:lnTo>
                    <a:pt x="1131" y="256"/>
                  </a:lnTo>
                  <a:lnTo>
                    <a:pt x="1122" y="242"/>
                  </a:lnTo>
                  <a:lnTo>
                    <a:pt x="1112" y="228"/>
                  </a:lnTo>
                  <a:lnTo>
                    <a:pt x="1102" y="215"/>
                  </a:lnTo>
                  <a:lnTo>
                    <a:pt x="1091" y="202"/>
                  </a:lnTo>
                  <a:lnTo>
                    <a:pt x="1080" y="190"/>
                  </a:lnTo>
                  <a:lnTo>
                    <a:pt x="1069" y="177"/>
                  </a:lnTo>
                  <a:lnTo>
                    <a:pt x="1056" y="167"/>
                  </a:lnTo>
                  <a:lnTo>
                    <a:pt x="1043" y="156"/>
                  </a:lnTo>
                  <a:lnTo>
                    <a:pt x="1030" y="145"/>
                  </a:lnTo>
                  <a:lnTo>
                    <a:pt x="1017" y="136"/>
                  </a:lnTo>
                  <a:lnTo>
                    <a:pt x="1002" y="127"/>
                  </a:lnTo>
                  <a:lnTo>
                    <a:pt x="988" y="118"/>
                  </a:lnTo>
                  <a:lnTo>
                    <a:pt x="973" y="110"/>
                  </a:lnTo>
                  <a:lnTo>
                    <a:pt x="959" y="103"/>
                  </a:lnTo>
                  <a:lnTo>
                    <a:pt x="943" y="97"/>
                  </a:lnTo>
                  <a:lnTo>
                    <a:pt x="928" y="90"/>
                  </a:lnTo>
                  <a:lnTo>
                    <a:pt x="911" y="85"/>
                  </a:lnTo>
                  <a:lnTo>
                    <a:pt x="895" y="80"/>
                  </a:lnTo>
                  <a:lnTo>
                    <a:pt x="879" y="76"/>
                  </a:lnTo>
                  <a:lnTo>
                    <a:pt x="862" y="73"/>
                  </a:lnTo>
                  <a:lnTo>
                    <a:pt x="845" y="70"/>
                  </a:lnTo>
                  <a:lnTo>
                    <a:pt x="828" y="68"/>
                  </a:lnTo>
                  <a:lnTo>
                    <a:pt x="811" y="67"/>
                  </a:lnTo>
                  <a:lnTo>
                    <a:pt x="793" y="67"/>
                  </a:lnTo>
                  <a:lnTo>
                    <a:pt x="793" y="67"/>
                  </a:lnTo>
                  <a:lnTo>
                    <a:pt x="767" y="68"/>
                  </a:lnTo>
                  <a:lnTo>
                    <a:pt x="742" y="70"/>
                  </a:lnTo>
                  <a:lnTo>
                    <a:pt x="717" y="74"/>
                  </a:lnTo>
                  <a:lnTo>
                    <a:pt x="693" y="79"/>
                  </a:lnTo>
                  <a:lnTo>
                    <a:pt x="668" y="86"/>
                  </a:lnTo>
                  <a:lnTo>
                    <a:pt x="645" y="96"/>
                  </a:lnTo>
                  <a:lnTo>
                    <a:pt x="623" y="105"/>
                  </a:lnTo>
                  <a:lnTo>
                    <a:pt x="600" y="116"/>
                  </a:lnTo>
                  <a:lnTo>
                    <a:pt x="579" y="130"/>
                  </a:lnTo>
                  <a:lnTo>
                    <a:pt x="558" y="144"/>
                  </a:lnTo>
                  <a:lnTo>
                    <a:pt x="539" y="160"/>
                  </a:lnTo>
                  <a:lnTo>
                    <a:pt x="520" y="176"/>
                  </a:lnTo>
                  <a:lnTo>
                    <a:pt x="502" y="194"/>
                  </a:lnTo>
                  <a:lnTo>
                    <a:pt x="486" y="214"/>
                  </a:lnTo>
                  <a:lnTo>
                    <a:pt x="470" y="234"/>
                  </a:lnTo>
                  <a:lnTo>
                    <a:pt x="456" y="256"/>
                  </a:lnTo>
                  <a:lnTo>
                    <a:pt x="456" y="256"/>
                  </a:lnTo>
                  <a:lnTo>
                    <a:pt x="453" y="260"/>
                  </a:lnTo>
                  <a:lnTo>
                    <a:pt x="450" y="263"/>
                  </a:lnTo>
                  <a:lnTo>
                    <a:pt x="446" y="266"/>
                  </a:lnTo>
                  <a:lnTo>
                    <a:pt x="440" y="268"/>
                  </a:lnTo>
                  <a:lnTo>
                    <a:pt x="436" y="271"/>
                  </a:lnTo>
                  <a:lnTo>
                    <a:pt x="431" y="272"/>
                  </a:lnTo>
                  <a:lnTo>
                    <a:pt x="426" y="272"/>
                  </a:lnTo>
                  <a:lnTo>
                    <a:pt x="422" y="271"/>
                  </a:lnTo>
                  <a:lnTo>
                    <a:pt x="422" y="271"/>
                  </a:lnTo>
                  <a:lnTo>
                    <a:pt x="403" y="267"/>
                  </a:lnTo>
                  <a:lnTo>
                    <a:pt x="386" y="266"/>
                  </a:lnTo>
                  <a:lnTo>
                    <a:pt x="368" y="265"/>
                  </a:lnTo>
                  <a:lnTo>
                    <a:pt x="351" y="265"/>
                  </a:lnTo>
                  <a:lnTo>
                    <a:pt x="334" y="266"/>
                  </a:lnTo>
                  <a:lnTo>
                    <a:pt x="317" y="268"/>
                  </a:lnTo>
                  <a:lnTo>
                    <a:pt x="301" y="272"/>
                  </a:lnTo>
                  <a:lnTo>
                    <a:pt x="285" y="275"/>
                  </a:lnTo>
                  <a:lnTo>
                    <a:pt x="270" y="280"/>
                  </a:lnTo>
                  <a:lnTo>
                    <a:pt x="254" y="285"/>
                  </a:lnTo>
                  <a:lnTo>
                    <a:pt x="240" y="291"/>
                  </a:lnTo>
                  <a:lnTo>
                    <a:pt x="225" y="298"/>
                  </a:lnTo>
                  <a:lnTo>
                    <a:pt x="211" y="307"/>
                  </a:lnTo>
                  <a:lnTo>
                    <a:pt x="197" y="315"/>
                  </a:lnTo>
                  <a:lnTo>
                    <a:pt x="185" y="324"/>
                  </a:lnTo>
                  <a:lnTo>
                    <a:pt x="172" y="335"/>
                  </a:lnTo>
                  <a:lnTo>
                    <a:pt x="160" y="345"/>
                  </a:lnTo>
                  <a:lnTo>
                    <a:pt x="149" y="356"/>
                  </a:lnTo>
                  <a:lnTo>
                    <a:pt x="138" y="368"/>
                  </a:lnTo>
                  <a:lnTo>
                    <a:pt x="128" y="380"/>
                  </a:lnTo>
                  <a:lnTo>
                    <a:pt x="119" y="393"/>
                  </a:lnTo>
                  <a:lnTo>
                    <a:pt x="110" y="406"/>
                  </a:lnTo>
                  <a:lnTo>
                    <a:pt x="102" y="421"/>
                  </a:lnTo>
                  <a:lnTo>
                    <a:pt x="95" y="435"/>
                  </a:lnTo>
                  <a:lnTo>
                    <a:pt x="89" y="450"/>
                  </a:lnTo>
                  <a:lnTo>
                    <a:pt x="82" y="464"/>
                  </a:lnTo>
                  <a:lnTo>
                    <a:pt x="77" y="481"/>
                  </a:lnTo>
                  <a:lnTo>
                    <a:pt x="73" y="496"/>
                  </a:lnTo>
                  <a:lnTo>
                    <a:pt x="70" y="513"/>
                  </a:lnTo>
                  <a:lnTo>
                    <a:pt x="68" y="529"/>
                  </a:lnTo>
                  <a:lnTo>
                    <a:pt x="67" y="546"/>
                  </a:lnTo>
                  <a:lnTo>
                    <a:pt x="66" y="562"/>
                  </a:lnTo>
                  <a:lnTo>
                    <a:pt x="66" y="562"/>
                  </a:lnTo>
                  <a:lnTo>
                    <a:pt x="67" y="578"/>
                  </a:lnTo>
                  <a:lnTo>
                    <a:pt x="68" y="593"/>
                  </a:lnTo>
                  <a:lnTo>
                    <a:pt x="69" y="608"/>
                  </a:lnTo>
                  <a:lnTo>
                    <a:pt x="72" y="622"/>
                  </a:lnTo>
                  <a:lnTo>
                    <a:pt x="75" y="637"/>
                  </a:lnTo>
                  <a:lnTo>
                    <a:pt x="79" y="651"/>
                  </a:lnTo>
                  <a:lnTo>
                    <a:pt x="84" y="665"/>
                  </a:lnTo>
                  <a:lnTo>
                    <a:pt x="90" y="678"/>
                  </a:lnTo>
                  <a:lnTo>
                    <a:pt x="96" y="692"/>
                  </a:lnTo>
                  <a:lnTo>
                    <a:pt x="102" y="704"/>
                  </a:lnTo>
                  <a:lnTo>
                    <a:pt x="109" y="716"/>
                  </a:lnTo>
                  <a:lnTo>
                    <a:pt x="116" y="729"/>
                  </a:lnTo>
                  <a:lnTo>
                    <a:pt x="125" y="740"/>
                  </a:lnTo>
                  <a:lnTo>
                    <a:pt x="134" y="752"/>
                  </a:lnTo>
                  <a:lnTo>
                    <a:pt x="143" y="762"/>
                  </a:lnTo>
                  <a:lnTo>
                    <a:pt x="153" y="772"/>
                  </a:lnTo>
                  <a:lnTo>
                    <a:pt x="163" y="783"/>
                  </a:lnTo>
                  <a:lnTo>
                    <a:pt x="174" y="792"/>
                  </a:lnTo>
                  <a:lnTo>
                    <a:pt x="186" y="800"/>
                  </a:lnTo>
                  <a:lnTo>
                    <a:pt x="197" y="810"/>
                  </a:lnTo>
                  <a:lnTo>
                    <a:pt x="210" y="817"/>
                  </a:lnTo>
                  <a:lnTo>
                    <a:pt x="222" y="824"/>
                  </a:lnTo>
                  <a:lnTo>
                    <a:pt x="234" y="830"/>
                  </a:lnTo>
                  <a:lnTo>
                    <a:pt x="248" y="836"/>
                  </a:lnTo>
                  <a:lnTo>
                    <a:pt x="261" y="842"/>
                  </a:lnTo>
                  <a:lnTo>
                    <a:pt x="275" y="847"/>
                  </a:lnTo>
                  <a:lnTo>
                    <a:pt x="289" y="851"/>
                  </a:lnTo>
                  <a:lnTo>
                    <a:pt x="304" y="854"/>
                  </a:lnTo>
                  <a:lnTo>
                    <a:pt x="318" y="856"/>
                  </a:lnTo>
                  <a:lnTo>
                    <a:pt x="333" y="858"/>
                  </a:lnTo>
                  <a:lnTo>
                    <a:pt x="348" y="859"/>
                  </a:lnTo>
                  <a:lnTo>
                    <a:pt x="364" y="860"/>
                  </a:lnTo>
                  <a:lnTo>
                    <a:pt x="364" y="860"/>
                  </a:lnTo>
                  <a:lnTo>
                    <a:pt x="388" y="859"/>
                  </a:lnTo>
                  <a:lnTo>
                    <a:pt x="411" y="856"/>
                  </a:lnTo>
                  <a:lnTo>
                    <a:pt x="435" y="851"/>
                  </a:lnTo>
                  <a:lnTo>
                    <a:pt x="458" y="845"/>
                  </a:lnTo>
                  <a:lnTo>
                    <a:pt x="481" y="835"/>
                  </a:lnTo>
                  <a:lnTo>
                    <a:pt x="501" y="825"/>
                  </a:lnTo>
                  <a:lnTo>
                    <a:pt x="523" y="814"/>
                  </a:lnTo>
                  <a:lnTo>
                    <a:pt x="543" y="799"/>
                  </a:lnTo>
                  <a:lnTo>
                    <a:pt x="543" y="799"/>
                  </a:lnTo>
                  <a:lnTo>
                    <a:pt x="547" y="796"/>
                  </a:lnTo>
                  <a:lnTo>
                    <a:pt x="552" y="795"/>
                  </a:lnTo>
                  <a:lnTo>
                    <a:pt x="556" y="793"/>
                  </a:lnTo>
                  <a:lnTo>
                    <a:pt x="561" y="793"/>
                  </a:lnTo>
                  <a:lnTo>
                    <a:pt x="567" y="793"/>
                  </a:lnTo>
                  <a:lnTo>
                    <a:pt x="572" y="794"/>
                  </a:lnTo>
                  <a:lnTo>
                    <a:pt x="576" y="795"/>
                  </a:lnTo>
                  <a:lnTo>
                    <a:pt x="580" y="798"/>
                  </a:lnTo>
                  <a:lnTo>
                    <a:pt x="580" y="798"/>
                  </a:lnTo>
                  <a:lnTo>
                    <a:pt x="595" y="806"/>
                  </a:lnTo>
                  <a:lnTo>
                    <a:pt x="608" y="814"/>
                  </a:lnTo>
                  <a:lnTo>
                    <a:pt x="623" y="821"/>
                  </a:lnTo>
                  <a:lnTo>
                    <a:pt x="637" y="827"/>
                  </a:lnTo>
                  <a:lnTo>
                    <a:pt x="653" y="833"/>
                  </a:lnTo>
                  <a:lnTo>
                    <a:pt x="667" y="839"/>
                  </a:lnTo>
                  <a:lnTo>
                    <a:pt x="683" y="843"/>
                  </a:lnTo>
                  <a:lnTo>
                    <a:pt x="698" y="847"/>
                  </a:lnTo>
                  <a:lnTo>
                    <a:pt x="714" y="851"/>
                  </a:lnTo>
                  <a:lnTo>
                    <a:pt x="729" y="853"/>
                  </a:lnTo>
                  <a:lnTo>
                    <a:pt x="760" y="857"/>
                  </a:lnTo>
                  <a:lnTo>
                    <a:pt x="792" y="858"/>
                  </a:lnTo>
                  <a:lnTo>
                    <a:pt x="823" y="857"/>
                  </a:lnTo>
                  <a:lnTo>
                    <a:pt x="855" y="853"/>
                  </a:lnTo>
                  <a:lnTo>
                    <a:pt x="886" y="847"/>
                  </a:lnTo>
                  <a:lnTo>
                    <a:pt x="916" y="839"/>
                  </a:lnTo>
                  <a:lnTo>
                    <a:pt x="932" y="833"/>
                  </a:lnTo>
                  <a:lnTo>
                    <a:pt x="946" y="828"/>
                  </a:lnTo>
                  <a:lnTo>
                    <a:pt x="961" y="821"/>
                  </a:lnTo>
                  <a:lnTo>
                    <a:pt x="975" y="815"/>
                  </a:lnTo>
                  <a:lnTo>
                    <a:pt x="990" y="808"/>
                  </a:lnTo>
                  <a:lnTo>
                    <a:pt x="1003" y="799"/>
                  </a:lnTo>
                  <a:lnTo>
                    <a:pt x="1017" y="790"/>
                  </a:lnTo>
                  <a:lnTo>
                    <a:pt x="1030" y="781"/>
                  </a:lnTo>
                  <a:lnTo>
                    <a:pt x="1043" y="771"/>
                  </a:lnTo>
                  <a:lnTo>
                    <a:pt x="1055" y="761"/>
                  </a:lnTo>
                  <a:lnTo>
                    <a:pt x="1055" y="761"/>
                  </a:lnTo>
                  <a:lnTo>
                    <a:pt x="1060" y="757"/>
                  </a:lnTo>
                  <a:lnTo>
                    <a:pt x="1065" y="755"/>
                  </a:lnTo>
                  <a:lnTo>
                    <a:pt x="1071" y="753"/>
                  </a:lnTo>
                  <a:lnTo>
                    <a:pt x="1077" y="753"/>
                  </a:lnTo>
                  <a:lnTo>
                    <a:pt x="1077" y="753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6">
              <a:extLst>
                <a:ext uri="{FF2B5EF4-FFF2-40B4-BE49-F238E27FC236}">
                  <a16:creationId xmlns:a16="http://schemas.microsoft.com/office/drawing/2014/main" id="{BA0E0D95-EDB8-4487-82E9-4C8352B58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1213" y="2787650"/>
              <a:ext cx="47625" cy="47625"/>
            </a:xfrm>
            <a:custGeom>
              <a:avLst/>
              <a:gdLst>
                <a:gd name="T0" fmla="*/ 48 w 208"/>
                <a:gd name="T1" fmla="*/ 208 h 208"/>
                <a:gd name="T2" fmla="*/ 0 w 208"/>
                <a:gd name="T3" fmla="*/ 161 h 208"/>
                <a:gd name="T4" fmla="*/ 162 w 208"/>
                <a:gd name="T5" fmla="*/ 0 h 208"/>
                <a:gd name="T6" fmla="*/ 208 w 208"/>
                <a:gd name="T7" fmla="*/ 47 h 208"/>
                <a:gd name="T8" fmla="*/ 48 w 208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208">
                  <a:moveTo>
                    <a:pt x="48" y="208"/>
                  </a:moveTo>
                  <a:lnTo>
                    <a:pt x="0" y="161"/>
                  </a:lnTo>
                  <a:lnTo>
                    <a:pt x="162" y="0"/>
                  </a:lnTo>
                  <a:lnTo>
                    <a:pt x="208" y="47"/>
                  </a:lnTo>
                  <a:lnTo>
                    <a:pt x="48" y="208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7">
              <a:extLst>
                <a:ext uri="{FF2B5EF4-FFF2-40B4-BE49-F238E27FC236}">
                  <a16:creationId xmlns:a16="http://schemas.microsoft.com/office/drawing/2014/main" id="{640DA98D-6E1F-4068-99F3-44A7BE8B7F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9788" y="2746375"/>
              <a:ext cx="60325" cy="60325"/>
            </a:xfrm>
            <a:custGeom>
              <a:avLst/>
              <a:gdLst>
                <a:gd name="T0" fmla="*/ 119 w 263"/>
                <a:gd name="T1" fmla="*/ 262 h 263"/>
                <a:gd name="T2" fmla="*/ 80 w 263"/>
                <a:gd name="T3" fmla="*/ 253 h 263"/>
                <a:gd name="T4" fmla="*/ 47 w 263"/>
                <a:gd name="T5" fmla="*/ 233 h 263"/>
                <a:gd name="T6" fmla="*/ 22 w 263"/>
                <a:gd name="T7" fmla="*/ 206 h 263"/>
                <a:gd name="T8" fmla="*/ 6 w 263"/>
                <a:gd name="T9" fmla="*/ 170 h 263"/>
                <a:gd name="T10" fmla="*/ 0 w 263"/>
                <a:gd name="T11" fmla="*/ 131 h 263"/>
                <a:gd name="T12" fmla="*/ 2 w 263"/>
                <a:gd name="T13" fmla="*/ 105 h 263"/>
                <a:gd name="T14" fmla="*/ 15 w 263"/>
                <a:gd name="T15" fmla="*/ 68 h 263"/>
                <a:gd name="T16" fmla="*/ 38 w 263"/>
                <a:gd name="T17" fmla="*/ 38 h 263"/>
                <a:gd name="T18" fmla="*/ 69 w 263"/>
                <a:gd name="T19" fmla="*/ 15 h 263"/>
                <a:gd name="T20" fmla="*/ 105 w 263"/>
                <a:gd name="T21" fmla="*/ 2 h 263"/>
                <a:gd name="T22" fmla="*/ 132 w 263"/>
                <a:gd name="T23" fmla="*/ 0 h 263"/>
                <a:gd name="T24" fmla="*/ 171 w 263"/>
                <a:gd name="T25" fmla="*/ 5 h 263"/>
                <a:gd name="T26" fmla="*/ 205 w 263"/>
                <a:gd name="T27" fmla="*/ 21 h 263"/>
                <a:gd name="T28" fmla="*/ 233 w 263"/>
                <a:gd name="T29" fmla="*/ 47 h 263"/>
                <a:gd name="T30" fmla="*/ 253 w 263"/>
                <a:gd name="T31" fmla="*/ 80 h 263"/>
                <a:gd name="T32" fmla="*/ 263 w 263"/>
                <a:gd name="T33" fmla="*/ 118 h 263"/>
                <a:gd name="T34" fmla="*/ 263 w 263"/>
                <a:gd name="T35" fmla="*/ 144 h 263"/>
                <a:gd name="T36" fmla="*/ 253 w 263"/>
                <a:gd name="T37" fmla="*/ 183 h 263"/>
                <a:gd name="T38" fmla="*/ 233 w 263"/>
                <a:gd name="T39" fmla="*/ 216 h 263"/>
                <a:gd name="T40" fmla="*/ 205 w 263"/>
                <a:gd name="T41" fmla="*/ 241 h 263"/>
                <a:gd name="T42" fmla="*/ 171 w 263"/>
                <a:gd name="T43" fmla="*/ 257 h 263"/>
                <a:gd name="T44" fmla="*/ 132 w 263"/>
                <a:gd name="T45" fmla="*/ 263 h 263"/>
                <a:gd name="T46" fmla="*/ 132 w 263"/>
                <a:gd name="T47" fmla="*/ 65 h 263"/>
                <a:gd name="T48" fmla="*/ 112 w 263"/>
                <a:gd name="T49" fmla="*/ 68 h 263"/>
                <a:gd name="T50" fmla="*/ 95 w 263"/>
                <a:gd name="T51" fmla="*/ 76 h 263"/>
                <a:gd name="T52" fmla="*/ 73 w 263"/>
                <a:gd name="T53" fmla="*/ 100 h 263"/>
                <a:gd name="T54" fmla="*/ 67 w 263"/>
                <a:gd name="T55" fmla="*/ 118 h 263"/>
                <a:gd name="T56" fmla="*/ 66 w 263"/>
                <a:gd name="T57" fmla="*/ 131 h 263"/>
                <a:gd name="T58" fmla="*/ 69 w 263"/>
                <a:gd name="T59" fmla="*/ 151 h 263"/>
                <a:gd name="T60" fmla="*/ 77 w 263"/>
                <a:gd name="T61" fmla="*/ 168 h 263"/>
                <a:gd name="T62" fmla="*/ 100 w 263"/>
                <a:gd name="T63" fmla="*/ 189 h 263"/>
                <a:gd name="T64" fmla="*/ 119 w 263"/>
                <a:gd name="T65" fmla="*/ 196 h 263"/>
                <a:gd name="T66" fmla="*/ 132 w 263"/>
                <a:gd name="T67" fmla="*/ 197 h 263"/>
                <a:gd name="T68" fmla="*/ 152 w 263"/>
                <a:gd name="T69" fmla="*/ 194 h 263"/>
                <a:gd name="T70" fmla="*/ 168 w 263"/>
                <a:gd name="T71" fmla="*/ 186 h 263"/>
                <a:gd name="T72" fmla="*/ 190 w 263"/>
                <a:gd name="T73" fmla="*/ 163 h 263"/>
                <a:gd name="T74" fmla="*/ 196 w 263"/>
                <a:gd name="T75" fmla="*/ 144 h 263"/>
                <a:gd name="T76" fmla="*/ 198 w 263"/>
                <a:gd name="T77" fmla="*/ 131 h 263"/>
                <a:gd name="T78" fmla="*/ 195 w 263"/>
                <a:gd name="T79" fmla="*/ 111 h 263"/>
                <a:gd name="T80" fmla="*/ 187 w 263"/>
                <a:gd name="T81" fmla="*/ 95 h 263"/>
                <a:gd name="T82" fmla="*/ 163 w 263"/>
                <a:gd name="T83" fmla="*/ 73 h 263"/>
                <a:gd name="T84" fmla="*/ 144 w 263"/>
                <a:gd name="T85" fmla="*/ 67 h 263"/>
                <a:gd name="T86" fmla="*/ 132 w 263"/>
                <a:gd name="T87" fmla="*/ 6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3" h="263">
                  <a:moveTo>
                    <a:pt x="132" y="263"/>
                  </a:moveTo>
                  <a:lnTo>
                    <a:pt x="132" y="263"/>
                  </a:lnTo>
                  <a:lnTo>
                    <a:pt x="119" y="262"/>
                  </a:lnTo>
                  <a:lnTo>
                    <a:pt x="105" y="260"/>
                  </a:lnTo>
                  <a:lnTo>
                    <a:pt x="93" y="257"/>
                  </a:lnTo>
                  <a:lnTo>
                    <a:pt x="80" y="253"/>
                  </a:lnTo>
                  <a:lnTo>
                    <a:pt x="69" y="248"/>
                  </a:lnTo>
                  <a:lnTo>
                    <a:pt x="57" y="241"/>
                  </a:lnTo>
                  <a:lnTo>
                    <a:pt x="47" y="233"/>
                  </a:lnTo>
                  <a:lnTo>
                    <a:pt x="38" y="225"/>
                  </a:lnTo>
                  <a:lnTo>
                    <a:pt x="30" y="216"/>
                  </a:lnTo>
                  <a:lnTo>
                    <a:pt x="22" y="206"/>
                  </a:lnTo>
                  <a:lnTo>
                    <a:pt x="15" y="194"/>
                  </a:lnTo>
                  <a:lnTo>
                    <a:pt x="10" y="183"/>
                  </a:lnTo>
                  <a:lnTo>
                    <a:pt x="6" y="170"/>
                  </a:lnTo>
                  <a:lnTo>
                    <a:pt x="2" y="158"/>
                  </a:lnTo>
                  <a:lnTo>
                    <a:pt x="1" y="144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1" y="118"/>
                  </a:lnTo>
                  <a:lnTo>
                    <a:pt x="2" y="105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5" y="68"/>
                  </a:lnTo>
                  <a:lnTo>
                    <a:pt x="22" y="58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7" y="30"/>
                  </a:lnTo>
                  <a:lnTo>
                    <a:pt x="57" y="21"/>
                  </a:lnTo>
                  <a:lnTo>
                    <a:pt x="69" y="15"/>
                  </a:lnTo>
                  <a:lnTo>
                    <a:pt x="80" y="10"/>
                  </a:lnTo>
                  <a:lnTo>
                    <a:pt x="93" y="5"/>
                  </a:lnTo>
                  <a:lnTo>
                    <a:pt x="105" y="2"/>
                  </a:lnTo>
                  <a:lnTo>
                    <a:pt x="119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5" y="0"/>
                  </a:lnTo>
                  <a:lnTo>
                    <a:pt x="158" y="2"/>
                  </a:lnTo>
                  <a:lnTo>
                    <a:pt x="171" y="5"/>
                  </a:lnTo>
                  <a:lnTo>
                    <a:pt x="183" y="10"/>
                  </a:lnTo>
                  <a:lnTo>
                    <a:pt x="194" y="15"/>
                  </a:lnTo>
                  <a:lnTo>
                    <a:pt x="205" y="21"/>
                  </a:lnTo>
                  <a:lnTo>
                    <a:pt x="216" y="30"/>
                  </a:lnTo>
                  <a:lnTo>
                    <a:pt x="225" y="38"/>
                  </a:lnTo>
                  <a:lnTo>
                    <a:pt x="233" y="47"/>
                  </a:lnTo>
                  <a:lnTo>
                    <a:pt x="242" y="58"/>
                  </a:lnTo>
                  <a:lnTo>
                    <a:pt x="248" y="68"/>
                  </a:lnTo>
                  <a:lnTo>
                    <a:pt x="253" y="80"/>
                  </a:lnTo>
                  <a:lnTo>
                    <a:pt x="258" y="92"/>
                  </a:lnTo>
                  <a:lnTo>
                    <a:pt x="261" y="105"/>
                  </a:lnTo>
                  <a:lnTo>
                    <a:pt x="263" y="118"/>
                  </a:lnTo>
                  <a:lnTo>
                    <a:pt x="263" y="131"/>
                  </a:lnTo>
                  <a:lnTo>
                    <a:pt x="263" y="131"/>
                  </a:lnTo>
                  <a:lnTo>
                    <a:pt x="263" y="144"/>
                  </a:lnTo>
                  <a:lnTo>
                    <a:pt x="261" y="158"/>
                  </a:lnTo>
                  <a:lnTo>
                    <a:pt x="258" y="170"/>
                  </a:lnTo>
                  <a:lnTo>
                    <a:pt x="253" y="183"/>
                  </a:lnTo>
                  <a:lnTo>
                    <a:pt x="248" y="194"/>
                  </a:lnTo>
                  <a:lnTo>
                    <a:pt x="242" y="206"/>
                  </a:lnTo>
                  <a:lnTo>
                    <a:pt x="233" y="216"/>
                  </a:lnTo>
                  <a:lnTo>
                    <a:pt x="225" y="225"/>
                  </a:lnTo>
                  <a:lnTo>
                    <a:pt x="216" y="233"/>
                  </a:lnTo>
                  <a:lnTo>
                    <a:pt x="205" y="241"/>
                  </a:lnTo>
                  <a:lnTo>
                    <a:pt x="194" y="248"/>
                  </a:lnTo>
                  <a:lnTo>
                    <a:pt x="183" y="253"/>
                  </a:lnTo>
                  <a:lnTo>
                    <a:pt x="171" y="257"/>
                  </a:lnTo>
                  <a:lnTo>
                    <a:pt x="158" y="260"/>
                  </a:lnTo>
                  <a:lnTo>
                    <a:pt x="145" y="262"/>
                  </a:lnTo>
                  <a:lnTo>
                    <a:pt x="132" y="263"/>
                  </a:lnTo>
                  <a:lnTo>
                    <a:pt x="132" y="263"/>
                  </a:lnTo>
                  <a:close/>
                  <a:moveTo>
                    <a:pt x="132" y="65"/>
                  </a:moveTo>
                  <a:lnTo>
                    <a:pt x="132" y="65"/>
                  </a:lnTo>
                  <a:lnTo>
                    <a:pt x="125" y="66"/>
                  </a:lnTo>
                  <a:lnTo>
                    <a:pt x="119" y="67"/>
                  </a:lnTo>
                  <a:lnTo>
                    <a:pt x="112" y="68"/>
                  </a:lnTo>
                  <a:lnTo>
                    <a:pt x="106" y="70"/>
                  </a:lnTo>
                  <a:lnTo>
                    <a:pt x="100" y="73"/>
                  </a:lnTo>
                  <a:lnTo>
                    <a:pt x="95" y="76"/>
                  </a:lnTo>
                  <a:lnTo>
                    <a:pt x="84" y="84"/>
                  </a:lnTo>
                  <a:lnTo>
                    <a:pt x="77" y="95"/>
                  </a:lnTo>
                  <a:lnTo>
                    <a:pt x="73" y="100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18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8"/>
                  </a:lnTo>
                  <a:lnTo>
                    <a:pt x="67" y="144"/>
                  </a:lnTo>
                  <a:lnTo>
                    <a:pt x="69" y="151"/>
                  </a:lnTo>
                  <a:lnTo>
                    <a:pt x="71" y="157"/>
                  </a:lnTo>
                  <a:lnTo>
                    <a:pt x="73" y="163"/>
                  </a:lnTo>
                  <a:lnTo>
                    <a:pt x="77" y="168"/>
                  </a:lnTo>
                  <a:lnTo>
                    <a:pt x="84" y="178"/>
                  </a:lnTo>
                  <a:lnTo>
                    <a:pt x="95" y="186"/>
                  </a:lnTo>
                  <a:lnTo>
                    <a:pt x="100" y="189"/>
                  </a:lnTo>
                  <a:lnTo>
                    <a:pt x="106" y="192"/>
                  </a:lnTo>
                  <a:lnTo>
                    <a:pt x="112" y="194"/>
                  </a:lnTo>
                  <a:lnTo>
                    <a:pt x="119" y="196"/>
                  </a:lnTo>
                  <a:lnTo>
                    <a:pt x="125" y="197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8" y="197"/>
                  </a:lnTo>
                  <a:lnTo>
                    <a:pt x="144" y="196"/>
                  </a:lnTo>
                  <a:lnTo>
                    <a:pt x="152" y="194"/>
                  </a:lnTo>
                  <a:lnTo>
                    <a:pt x="157" y="192"/>
                  </a:lnTo>
                  <a:lnTo>
                    <a:pt x="163" y="189"/>
                  </a:lnTo>
                  <a:lnTo>
                    <a:pt x="168" y="186"/>
                  </a:lnTo>
                  <a:lnTo>
                    <a:pt x="179" y="178"/>
                  </a:lnTo>
                  <a:lnTo>
                    <a:pt x="187" y="168"/>
                  </a:lnTo>
                  <a:lnTo>
                    <a:pt x="190" y="163"/>
                  </a:lnTo>
                  <a:lnTo>
                    <a:pt x="192" y="157"/>
                  </a:lnTo>
                  <a:lnTo>
                    <a:pt x="195" y="151"/>
                  </a:lnTo>
                  <a:lnTo>
                    <a:pt x="196" y="144"/>
                  </a:lnTo>
                  <a:lnTo>
                    <a:pt x="197" y="138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7" y="125"/>
                  </a:lnTo>
                  <a:lnTo>
                    <a:pt x="196" y="118"/>
                  </a:lnTo>
                  <a:lnTo>
                    <a:pt x="195" y="111"/>
                  </a:lnTo>
                  <a:lnTo>
                    <a:pt x="192" y="105"/>
                  </a:lnTo>
                  <a:lnTo>
                    <a:pt x="190" y="100"/>
                  </a:lnTo>
                  <a:lnTo>
                    <a:pt x="187" y="95"/>
                  </a:lnTo>
                  <a:lnTo>
                    <a:pt x="179" y="84"/>
                  </a:lnTo>
                  <a:lnTo>
                    <a:pt x="168" y="76"/>
                  </a:lnTo>
                  <a:lnTo>
                    <a:pt x="163" y="73"/>
                  </a:lnTo>
                  <a:lnTo>
                    <a:pt x="157" y="70"/>
                  </a:lnTo>
                  <a:lnTo>
                    <a:pt x="152" y="68"/>
                  </a:lnTo>
                  <a:lnTo>
                    <a:pt x="144" y="67"/>
                  </a:lnTo>
                  <a:lnTo>
                    <a:pt x="138" y="66"/>
                  </a:lnTo>
                  <a:lnTo>
                    <a:pt x="132" y="65"/>
                  </a:lnTo>
                  <a:lnTo>
                    <a:pt x="132" y="6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858D66C-B2A1-4756-9538-2767E32114CC}"/>
              </a:ext>
            </a:extLst>
          </p:cNvPr>
          <p:cNvSpPr/>
          <p:nvPr/>
        </p:nvSpPr>
        <p:spPr>
          <a:xfrm rot="2700000">
            <a:off x="3458669" y="2269958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C28A55A-DAA1-4780-A1BB-E74C781096E0}"/>
              </a:ext>
            </a:extLst>
          </p:cNvPr>
          <p:cNvGrpSpPr/>
          <p:nvPr/>
        </p:nvGrpSpPr>
        <p:grpSpPr>
          <a:xfrm>
            <a:off x="4650163" y="2123658"/>
            <a:ext cx="4299432" cy="1031902"/>
            <a:chOff x="4650163" y="2157978"/>
            <a:chExt cx="4299432" cy="103190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C31F9E0-1042-4B4C-80D4-F7B7DA62395D}"/>
                </a:ext>
              </a:extLst>
            </p:cNvPr>
            <p:cNvSpPr txBox="1"/>
            <p:nvPr/>
          </p:nvSpPr>
          <p:spPr>
            <a:xfrm>
              <a:off x="4650163" y="2157978"/>
              <a:ext cx="377993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1AD0179-4ED3-4360-AF93-E88092EB4B4F}"/>
                </a:ext>
              </a:extLst>
            </p:cNvPr>
            <p:cNvSpPr/>
            <p:nvPr/>
          </p:nvSpPr>
          <p:spPr>
            <a:xfrm>
              <a:off x="4650163" y="2543549"/>
              <a:ext cx="4087161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o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iu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emp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incididun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labor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et dolore magna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liqua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C8CB878-F540-4860-9AA0-B05059F369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50163" y="2458485"/>
              <a:ext cx="4299432" cy="0"/>
            </a:xfrm>
            <a:prstGeom prst="line">
              <a:avLst/>
            </a:prstGeom>
            <a:ln>
              <a:solidFill>
                <a:srgbClr val="3057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AE24720-F719-45AE-9698-99918931E407}"/>
              </a:ext>
            </a:extLst>
          </p:cNvPr>
          <p:cNvGrpSpPr/>
          <p:nvPr/>
        </p:nvGrpSpPr>
        <p:grpSpPr>
          <a:xfrm>
            <a:off x="3682270" y="2467365"/>
            <a:ext cx="292100" cy="344488"/>
            <a:chOff x="8464550" y="1825625"/>
            <a:chExt cx="292100" cy="344488"/>
          </a:xfrm>
        </p:grpSpPr>
        <p:sp>
          <p:nvSpPr>
            <p:cNvPr id="67" name="Freeform 118">
              <a:extLst>
                <a:ext uri="{FF2B5EF4-FFF2-40B4-BE49-F238E27FC236}">
                  <a16:creationId xmlns:a16="http://schemas.microsoft.com/office/drawing/2014/main" id="{0D0055EB-C302-4C6A-BA92-CE12CC5E2F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5038" y="2065338"/>
              <a:ext cx="149225" cy="104775"/>
            </a:xfrm>
            <a:custGeom>
              <a:avLst/>
              <a:gdLst>
                <a:gd name="T0" fmla="*/ 496 w 661"/>
                <a:gd name="T1" fmla="*/ 462 h 462"/>
                <a:gd name="T2" fmla="*/ 165 w 661"/>
                <a:gd name="T3" fmla="*/ 462 h 462"/>
                <a:gd name="T4" fmla="*/ 165 w 661"/>
                <a:gd name="T5" fmla="*/ 462 h 462"/>
                <a:gd name="T6" fmla="*/ 160 w 661"/>
                <a:gd name="T7" fmla="*/ 461 h 462"/>
                <a:gd name="T8" fmla="*/ 154 w 661"/>
                <a:gd name="T9" fmla="*/ 460 h 462"/>
                <a:gd name="T10" fmla="*/ 150 w 661"/>
                <a:gd name="T11" fmla="*/ 458 h 462"/>
                <a:gd name="T12" fmla="*/ 145 w 661"/>
                <a:gd name="T13" fmla="*/ 456 h 462"/>
                <a:gd name="T14" fmla="*/ 142 w 661"/>
                <a:gd name="T15" fmla="*/ 453 h 462"/>
                <a:gd name="T16" fmla="*/ 138 w 661"/>
                <a:gd name="T17" fmla="*/ 449 h 462"/>
                <a:gd name="T18" fmla="*/ 136 w 661"/>
                <a:gd name="T19" fmla="*/ 445 h 462"/>
                <a:gd name="T20" fmla="*/ 134 w 661"/>
                <a:gd name="T21" fmla="*/ 439 h 462"/>
                <a:gd name="T22" fmla="*/ 1 w 661"/>
                <a:gd name="T23" fmla="*/ 43 h 462"/>
                <a:gd name="T24" fmla="*/ 1 w 661"/>
                <a:gd name="T25" fmla="*/ 43 h 462"/>
                <a:gd name="T26" fmla="*/ 0 w 661"/>
                <a:gd name="T27" fmla="*/ 35 h 462"/>
                <a:gd name="T28" fmla="*/ 0 w 661"/>
                <a:gd name="T29" fmla="*/ 28 h 462"/>
                <a:gd name="T30" fmla="*/ 2 w 661"/>
                <a:gd name="T31" fmla="*/ 19 h 462"/>
                <a:gd name="T32" fmla="*/ 5 w 661"/>
                <a:gd name="T33" fmla="*/ 13 h 462"/>
                <a:gd name="T34" fmla="*/ 5 w 661"/>
                <a:gd name="T35" fmla="*/ 13 h 462"/>
                <a:gd name="T36" fmla="*/ 12 w 661"/>
                <a:gd name="T37" fmla="*/ 7 h 462"/>
                <a:gd name="T38" fmla="*/ 18 w 661"/>
                <a:gd name="T39" fmla="*/ 3 h 462"/>
                <a:gd name="T40" fmla="*/ 25 w 661"/>
                <a:gd name="T41" fmla="*/ 0 h 462"/>
                <a:gd name="T42" fmla="*/ 32 w 661"/>
                <a:gd name="T43" fmla="*/ 0 h 462"/>
                <a:gd name="T44" fmla="*/ 627 w 661"/>
                <a:gd name="T45" fmla="*/ 0 h 462"/>
                <a:gd name="T46" fmla="*/ 627 w 661"/>
                <a:gd name="T47" fmla="*/ 0 h 462"/>
                <a:gd name="T48" fmla="*/ 636 w 661"/>
                <a:gd name="T49" fmla="*/ 0 h 462"/>
                <a:gd name="T50" fmla="*/ 643 w 661"/>
                <a:gd name="T51" fmla="*/ 3 h 462"/>
                <a:gd name="T52" fmla="*/ 649 w 661"/>
                <a:gd name="T53" fmla="*/ 7 h 462"/>
                <a:gd name="T54" fmla="*/ 654 w 661"/>
                <a:gd name="T55" fmla="*/ 13 h 462"/>
                <a:gd name="T56" fmla="*/ 654 w 661"/>
                <a:gd name="T57" fmla="*/ 13 h 462"/>
                <a:gd name="T58" fmla="*/ 658 w 661"/>
                <a:gd name="T59" fmla="*/ 19 h 462"/>
                <a:gd name="T60" fmla="*/ 661 w 661"/>
                <a:gd name="T61" fmla="*/ 28 h 462"/>
                <a:gd name="T62" fmla="*/ 661 w 661"/>
                <a:gd name="T63" fmla="*/ 35 h 462"/>
                <a:gd name="T64" fmla="*/ 660 w 661"/>
                <a:gd name="T65" fmla="*/ 43 h 462"/>
                <a:gd name="T66" fmla="*/ 527 w 661"/>
                <a:gd name="T67" fmla="*/ 439 h 462"/>
                <a:gd name="T68" fmla="*/ 527 w 661"/>
                <a:gd name="T69" fmla="*/ 439 h 462"/>
                <a:gd name="T70" fmla="*/ 525 w 661"/>
                <a:gd name="T71" fmla="*/ 445 h 462"/>
                <a:gd name="T72" fmla="*/ 522 w 661"/>
                <a:gd name="T73" fmla="*/ 449 h 462"/>
                <a:gd name="T74" fmla="*/ 519 w 661"/>
                <a:gd name="T75" fmla="*/ 453 h 462"/>
                <a:gd name="T76" fmla="*/ 515 w 661"/>
                <a:gd name="T77" fmla="*/ 456 h 462"/>
                <a:gd name="T78" fmla="*/ 510 w 661"/>
                <a:gd name="T79" fmla="*/ 458 h 462"/>
                <a:gd name="T80" fmla="*/ 506 w 661"/>
                <a:gd name="T81" fmla="*/ 460 h 462"/>
                <a:gd name="T82" fmla="*/ 501 w 661"/>
                <a:gd name="T83" fmla="*/ 461 h 462"/>
                <a:gd name="T84" fmla="*/ 496 w 661"/>
                <a:gd name="T85" fmla="*/ 462 h 462"/>
                <a:gd name="T86" fmla="*/ 496 w 661"/>
                <a:gd name="T87" fmla="*/ 462 h 462"/>
                <a:gd name="T88" fmla="*/ 189 w 661"/>
                <a:gd name="T89" fmla="*/ 396 h 462"/>
                <a:gd name="T90" fmla="*/ 472 w 661"/>
                <a:gd name="T91" fmla="*/ 396 h 462"/>
                <a:gd name="T92" fmla="*/ 582 w 661"/>
                <a:gd name="T93" fmla="*/ 65 h 462"/>
                <a:gd name="T94" fmla="*/ 79 w 661"/>
                <a:gd name="T95" fmla="*/ 65 h 462"/>
                <a:gd name="T96" fmla="*/ 189 w 661"/>
                <a:gd name="T97" fmla="*/ 39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1" h="462">
                  <a:moveTo>
                    <a:pt x="496" y="462"/>
                  </a:moveTo>
                  <a:lnTo>
                    <a:pt x="165" y="462"/>
                  </a:lnTo>
                  <a:lnTo>
                    <a:pt x="165" y="462"/>
                  </a:lnTo>
                  <a:lnTo>
                    <a:pt x="160" y="461"/>
                  </a:lnTo>
                  <a:lnTo>
                    <a:pt x="154" y="460"/>
                  </a:lnTo>
                  <a:lnTo>
                    <a:pt x="150" y="458"/>
                  </a:lnTo>
                  <a:lnTo>
                    <a:pt x="145" y="456"/>
                  </a:lnTo>
                  <a:lnTo>
                    <a:pt x="142" y="453"/>
                  </a:lnTo>
                  <a:lnTo>
                    <a:pt x="138" y="449"/>
                  </a:lnTo>
                  <a:lnTo>
                    <a:pt x="136" y="445"/>
                  </a:lnTo>
                  <a:lnTo>
                    <a:pt x="134" y="439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19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12" y="7"/>
                  </a:lnTo>
                  <a:lnTo>
                    <a:pt x="18" y="3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627" y="0"/>
                  </a:lnTo>
                  <a:lnTo>
                    <a:pt x="627" y="0"/>
                  </a:lnTo>
                  <a:lnTo>
                    <a:pt x="636" y="0"/>
                  </a:lnTo>
                  <a:lnTo>
                    <a:pt x="643" y="3"/>
                  </a:lnTo>
                  <a:lnTo>
                    <a:pt x="649" y="7"/>
                  </a:lnTo>
                  <a:lnTo>
                    <a:pt x="654" y="13"/>
                  </a:lnTo>
                  <a:lnTo>
                    <a:pt x="654" y="13"/>
                  </a:lnTo>
                  <a:lnTo>
                    <a:pt x="658" y="19"/>
                  </a:lnTo>
                  <a:lnTo>
                    <a:pt x="661" y="28"/>
                  </a:lnTo>
                  <a:lnTo>
                    <a:pt x="661" y="35"/>
                  </a:lnTo>
                  <a:lnTo>
                    <a:pt x="660" y="43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5" y="445"/>
                  </a:lnTo>
                  <a:lnTo>
                    <a:pt x="522" y="449"/>
                  </a:lnTo>
                  <a:lnTo>
                    <a:pt x="519" y="453"/>
                  </a:lnTo>
                  <a:lnTo>
                    <a:pt x="515" y="456"/>
                  </a:lnTo>
                  <a:lnTo>
                    <a:pt x="510" y="458"/>
                  </a:lnTo>
                  <a:lnTo>
                    <a:pt x="506" y="460"/>
                  </a:lnTo>
                  <a:lnTo>
                    <a:pt x="501" y="461"/>
                  </a:lnTo>
                  <a:lnTo>
                    <a:pt x="496" y="462"/>
                  </a:lnTo>
                  <a:lnTo>
                    <a:pt x="496" y="462"/>
                  </a:lnTo>
                  <a:close/>
                  <a:moveTo>
                    <a:pt x="189" y="396"/>
                  </a:moveTo>
                  <a:lnTo>
                    <a:pt x="472" y="396"/>
                  </a:lnTo>
                  <a:lnTo>
                    <a:pt x="582" y="65"/>
                  </a:lnTo>
                  <a:lnTo>
                    <a:pt x="79" y="65"/>
                  </a:lnTo>
                  <a:lnTo>
                    <a:pt x="189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19">
              <a:extLst>
                <a:ext uri="{FF2B5EF4-FFF2-40B4-BE49-F238E27FC236}">
                  <a16:creationId xmlns:a16="http://schemas.microsoft.com/office/drawing/2014/main" id="{B1FFD08D-F97A-4C3E-A0AD-6ECF299A2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2825" y="1909763"/>
              <a:ext cx="123825" cy="139700"/>
            </a:xfrm>
            <a:custGeom>
              <a:avLst/>
              <a:gdLst>
                <a:gd name="T0" fmla="*/ 237 w 546"/>
                <a:gd name="T1" fmla="*/ 608 h 610"/>
                <a:gd name="T2" fmla="*/ 193 w 546"/>
                <a:gd name="T3" fmla="*/ 593 h 610"/>
                <a:gd name="T4" fmla="*/ 155 w 546"/>
                <a:gd name="T5" fmla="*/ 565 h 610"/>
                <a:gd name="T6" fmla="*/ 118 w 546"/>
                <a:gd name="T7" fmla="*/ 519 h 610"/>
                <a:gd name="T8" fmla="*/ 93 w 546"/>
                <a:gd name="T9" fmla="*/ 471 h 610"/>
                <a:gd name="T10" fmla="*/ 46 w 546"/>
                <a:gd name="T11" fmla="*/ 429 h 610"/>
                <a:gd name="T12" fmla="*/ 17 w 546"/>
                <a:gd name="T13" fmla="*/ 388 h 610"/>
                <a:gd name="T14" fmla="*/ 4 w 546"/>
                <a:gd name="T15" fmla="*/ 351 h 610"/>
                <a:gd name="T16" fmla="*/ 1 w 546"/>
                <a:gd name="T17" fmla="*/ 307 h 610"/>
                <a:gd name="T18" fmla="*/ 10 w 546"/>
                <a:gd name="T19" fmla="*/ 263 h 610"/>
                <a:gd name="T20" fmla="*/ 34 w 546"/>
                <a:gd name="T21" fmla="*/ 220 h 610"/>
                <a:gd name="T22" fmla="*/ 68 w 546"/>
                <a:gd name="T23" fmla="*/ 182 h 610"/>
                <a:gd name="T24" fmla="*/ 101 w 546"/>
                <a:gd name="T25" fmla="*/ 156 h 610"/>
                <a:gd name="T26" fmla="*/ 165 w 546"/>
                <a:gd name="T27" fmla="*/ 123 h 610"/>
                <a:gd name="T28" fmla="*/ 271 w 546"/>
                <a:gd name="T29" fmla="*/ 90 h 610"/>
                <a:gd name="T30" fmla="*/ 366 w 546"/>
                <a:gd name="T31" fmla="*/ 61 h 610"/>
                <a:gd name="T32" fmla="*/ 465 w 546"/>
                <a:gd name="T33" fmla="*/ 6 h 610"/>
                <a:gd name="T34" fmla="*/ 485 w 546"/>
                <a:gd name="T35" fmla="*/ 0 h 610"/>
                <a:gd name="T36" fmla="*/ 506 w 546"/>
                <a:gd name="T37" fmla="*/ 7 h 610"/>
                <a:gd name="T38" fmla="*/ 520 w 546"/>
                <a:gd name="T39" fmla="*/ 33 h 610"/>
                <a:gd name="T40" fmla="*/ 538 w 546"/>
                <a:gd name="T41" fmla="*/ 96 h 610"/>
                <a:gd name="T42" fmla="*/ 546 w 546"/>
                <a:gd name="T43" fmla="*/ 183 h 610"/>
                <a:gd name="T44" fmla="*/ 531 w 546"/>
                <a:gd name="T45" fmla="*/ 327 h 610"/>
                <a:gd name="T46" fmla="*/ 488 w 546"/>
                <a:gd name="T47" fmla="*/ 453 h 610"/>
                <a:gd name="T48" fmla="*/ 451 w 546"/>
                <a:gd name="T49" fmla="*/ 513 h 610"/>
                <a:gd name="T50" fmla="*/ 401 w 546"/>
                <a:gd name="T51" fmla="*/ 560 h 610"/>
                <a:gd name="T52" fmla="*/ 334 w 546"/>
                <a:gd name="T53" fmla="*/ 598 h 610"/>
                <a:gd name="T54" fmla="*/ 289 w 546"/>
                <a:gd name="T55" fmla="*/ 609 h 610"/>
                <a:gd name="T56" fmla="*/ 139 w 546"/>
                <a:gd name="T57" fmla="*/ 212 h 610"/>
                <a:gd name="T58" fmla="*/ 96 w 546"/>
                <a:gd name="T59" fmla="*/ 249 h 610"/>
                <a:gd name="T60" fmla="*/ 67 w 546"/>
                <a:gd name="T61" fmla="*/ 304 h 610"/>
                <a:gd name="T62" fmla="*/ 68 w 546"/>
                <a:gd name="T63" fmla="*/ 334 h 610"/>
                <a:gd name="T64" fmla="*/ 81 w 546"/>
                <a:gd name="T65" fmla="*/ 365 h 610"/>
                <a:gd name="T66" fmla="*/ 126 w 546"/>
                <a:gd name="T67" fmla="*/ 413 h 610"/>
                <a:gd name="T68" fmla="*/ 146 w 546"/>
                <a:gd name="T69" fmla="*/ 428 h 610"/>
                <a:gd name="T70" fmla="*/ 160 w 546"/>
                <a:gd name="T71" fmla="*/ 458 h 610"/>
                <a:gd name="T72" fmla="*/ 207 w 546"/>
                <a:gd name="T73" fmla="*/ 522 h 610"/>
                <a:gd name="T74" fmla="*/ 235 w 546"/>
                <a:gd name="T75" fmla="*/ 539 h 610"/>
                <a:gd name="T76" fmla="*/ 259 w 546"/>
                <a:gd name="T77" fmla="*/ 544 h 610"/>
                <a:gd name="T78" fmla="*/ 299 w 546"/>
                <a:gd name="T79" fmla="*/ 540 h 610"/>
                <a:gd name="T80" fmla="*/ 347 w 546"/>
                <a:gd name="T81" fmla="*/ 517 h 610"/>
                <a:gd name="T82" fmla="*/ 395 w 546"/>
                <a:gd name="T83" fmla="*/ 477 h 610"/>
                <a:gd name="T84" fmla="*/ 440 w 546"/>
                <a:gd name="T85" fmla="*/ 404 h 610"/>
                <a:gd name="T86" fmla="*/ 469 w 546"/>
                <a:gd name="T87" fmla="*/ 302 h 610"/>
                <a:gd name="T88" fmla="*/ 480 w 546"/>
                <a:gd name="T89" fmla="*/ 189 h 610"/>
                <a:gd name="T90" fmla="*/ 468 w 546"/>
                <a:gd name="T91" fmla="*/ 84 h 610"/>
                <a:gd name="T92" fmla="*/ 397 w 546"/>
                <a:gd name="T93" fmla="*/ 120 h 610"/>
                <a:gd name="T94" fmla="*/ 288 w 546"/>
                <a:gd name="T95" fmla="*/ 154 h 610"/>
                <a:gd name="T96" fmla="*/ 211 w 546"/>
                <a:gd name="T97" fmla="*/ 176 h 610"/>
                <a:gd name="T98" fmla="*/ 139 w 546"/>
                <a:gd name="T99" fmla="*/ 21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6" h="610">
                  <a:moveTo>
                    <a:pt x="266" y="610"/>
                  </a:moveTo>
                  <a:lnTo>
                    <a:pt x="266" y="610"/>
                  </a:lnTo>
                  <a:lnTo>
                    <a:pt x="251" y="610"/>
                  </a:lnTo>
                  <a:lnTo>
                    <a:pt x="237" y="608"/>
                  </a:lnTo>
                  <a:lnTo>
                    <a:pt x="237" y="608"/>
                  </a:lnTo>
                  <a:lnTo>
                    <a:pt x="220" y="604"/>
                  </a:lnTo>
                  <a:lnTo>
                    <a:pt x="203" y="597"/>
                  </a:lnTo>
                  <a:lnTo>
                    <a:pt x="193" y="593"/>
                  </a:lnTo>
                  <a:lnTo>
                    <a:pt x="184" y="587"/>
                  </a:lnTo>
                  <a:lnTo>
                    <a:pt x="175" y="580"/>
                  </a:lnTo>
                  <a:lnTo>
                    <a:pt x="164" y="573"/>
                  </a:lnTo>
                  <a:lnTo>
                    <a:pt x="155" y="565"/>
                  </a:lnTo>
                  <a:lnTo>
                    <a:pt x="146" y="556"/>
                  </a:lnTo>
                  <a:lnTo>
                    <a:pt x="136" y="544"/>
                  </a:lnTo>
                  <a:lnTo>
                    <a:pt x="127" y="533"/>
                  </a:lnTo>
                  <a:lnTo>
                    <a:pt x="118" y="519"/>
                  </a:lnTo>
                  <a:lnTo>
                    <a:pt x="110" y="504"/>
                  </a:lnTo>
                  <a:lnTo>
                    <a:pt x="101" y="488"/>
                  </a:lnTo>
                  <a:lnTo>
                    <a:pt x="93" y="471"/>
                  </a:lnTo>
                  <a:lnTo>
                    <a:pt x="93" y="471"/>
                  </a:lnTo>
                  <a:lnTo>
                    <a:pt x="80" y="460"/>
                  </a:lnTo>
                  <a:lnTo>
                    <a:pt x="67" y="450"/>
                  </a:lnTo>
                  <a:lnTo>
                    <a:pt x="56" y="440"/>
                  </a:lnTo>
                  <a:lnTo>
                    <a:pt x="46" y="429"/>
                  </a:lnTo>
                  <a:lnTo>
                    <a:pt x="37" y="419"/>
                  </a:lnTo>
                  <a:lnTo>
                    <a:pt x="30" y="409"/>
                  </a:lnTo>
                  <a:lnTo>
                    <a:pt x="24" y="398"/>
                  </a:lnTo>
                  <a:lnTo>
                    <a:pt x="17" y="388"/>
                  </a:lnTo>
                  <a:lnTo>
                    <a:pt x="13" y="379"/>
                  </a:lnTo>
                  <a:lnTo>
                    <a:pt x="9" y="369"/>
                  </a:lnTo>
                  <a:lnTo>
                    <a:pt x="6" y="360"/>
                  </a:lnTo>
                  <a:lnTo>
                    <a:pt x="4" y="351"/>
                  </a:lnTo>
                  <a:lnTo>
                    <a:pt x="1" y="333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1" y="307"/>
                  </a:lnTo>
                  <a:lnTo>
                    <a:pt x="2" y="296"/>
                  </a:lnTo>
                  <a:lnTo>
                    <a:pt x="4" y="284"/>
                  </a:lnTo>
                  <a:lnTo>
                    <a:pt x="7" y="274"/>
                  </a:lnTo>
                  <a:lnTo>
                    <a:pt x="10" y="263"/>
                  </a:lnTo>
                  <a:lnTo>
                    <a:pt x="15" y="252"/>
                  </a:lnTo>
                  <a:lnTo>
                    <a:pt x="21" y="241"/>
                  </a:lnTo>
                  <a:lnTo>
                    <a:pt x="27" y="231"/>
                  </a:lnTo>
                  <a:lnTo>
                    <a:pt x="34" y="220"/>
                  </a:lnTo>
                  <a:lnTo>
                    <a:pt x="41" y="211"/>
                  </a:lnTo>
                  <a:lnTo>
                    <a:pt x="50" y="201"/>
                  </a:lnTo>
                  <a:lnTo>
                    <a:pt x="59" y="191"/>
                  </a:lnTo>
                  <a:lnTo>
                    <a:pt x="68" y="182"/>
                  </a:lnTo>
                  <a:lnTo>
                    <a:pt x="79" y="174"/>
                  </a:lnTo>
                  <a:lnTo>
                    <a:pt x="90" y="164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23" y="144"/>
                  </a:lnTo>
                  <a:lnTo>
                    <a:pt x="144" y="132"/>
                  </a:lnTo>
                  <a:lnTo>
                    <a:pt x="165" y="123"/>
                  </a:lnTo>
                  <a:lnTo>
                    <a:pt x="186" y="115"/>
                  </a:lnTo>
                  <a:lnTo>
                    <a:pt x="208" y="107"/>
                  </a:lnTo>
                  <a:lnTo>
                    <a:pt x="229" y="101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318" y="77"/>
                  </a:lnTo>
                  <a:lnTo>
                    <a:pt x="341" y="69"/>
                  </a:lnTo>
                  <a:lnTo>
                    <a:pt x="366" y="61"/>
                  </a:lnTo>
                  <a:lnTo>
                    <a:pt x="390" y="51"/>
                  </a:lnTo>
                  <a:lnTo>
                    <a:pt x="415" y="38"/>
                  </a:lnTo>
                  <a:lnTo>
                    <a:pt x="440" y="24"/>
                  </a:lnTo>
                  <a:lnTo>
                    <a:pt x="465" y="6"/>
                  </a:lnTo>
                  <a:lnTo>
                    <a:pt x="465" y="6"/>
                  </a:lnTo>
                  <a:lnTo>
                    <a:pt x="471" y="3"/>
                  </a:lnTo>
                  <a:lnTo>
                    <a:pt x="478" y="1"/>
                  </a:lnTo>
                  <a:lnTo>
                    <a:pt x="485" y="0"/>
                  </a:lnTo>
                  <a:lnTo>
                    <a:pt x="492" y="1"/>
                  </a:lnTo>
                  <a:lnTo>
                    <a:pt x="492" y="1"/>
                  </a:lnTo>
                  <a:lnTo>
                    <a:pt x="500" y="3"/>
                  </a:lnTo>
                  <a:lnTo>
                    <a:pt x="506" y="7"/>
                  </a:lnTo>
                  <a:lnTo>
                    <a:pt x="511" y="12"/>
                  </a:lnTo>
                  <a:lnTo>
                    <a:pt x="514" y="19"/>
                  </a:lnTo>
                  <a:lnTo>
                    <a:pt x="514" y="19"/>
                  </a:lnTo>
                  <a:lnTo>
                    <a:pt x="520" y="33"/>
                  </a:lnTo>
                  <a:lnTo>
                    <a:pt x="526" y="49"/>
                  </a:lnTo>
                  <a:lnTo>
                    <a:pt x="531" y="63"/>
                  </a:lnTo>
                  <a:lnTo>
                    <a:pt x="535" y="80"/>
                  </a:lnTo>
                  <a:lnTo>
                    <a:pt x="538" y="96"/>
                  </a:lnTo>
                  <a:lnTo>
                    <a:pt x="541" y="113"/>
                  </a:lnTo>
                  <a:lnTo>
                    <a:pt x="543" y="129"/>
                  </a:lnTo>
                  <a:lnTo>
                    <a:pt x="545" y="147"/>
                  </a:lnTo>
                  <a:lnTo>
                    <a:pt x="546" y="183"/>
                  </a:lnTo>
                  <a:lnTo>
                    <a:pt x="545" y="218"/>
                  </a:lnTo>
                  <a:lnTo>
                    <a:pt x="543" y="255"/>
                  </a:lnTo>
                  <a:lnTo>
                    <a:pt x="538" y="291"/>
                  </a:lnTo>
                  <a:lnTo>
                    <a:pt x="531" y="327"/>
                  </a:lnTo>
                  <a:lnTo>
                    <a:pt x="522" y="361"/>
                  </a:lnTo>
                  <a:lnTo>
                    <a:pt x="513" y="394"/>
                  </a:lnTo>
                  <a:lnTo>
                    <a:pt x="502" y="425"/>
                  </a:lnTo>
                  <a:lnTo>
                    <a:pt x="488" y="453"/>
                  </a:lnTo>
                  <a:lnTo>
                    <a:pt x="475" y="480"/>
                  </a:lnTo>
                  <a:lnTo>
                    <a:pt x="468" y="491"/>
                  </a:lnTo>
                  <a:lnTo>
                    <a:pt x="459" y="503"/>
                  </a:lnTo>
                  <a:lnTo>
                    <a:pt x="451" y="513"/>
                  </a:lnTo>
                  <a:lnTo>
                    <a:pt x="443" y="522"/>
                  </a:lnTo>
                  <a:lnTo>
                    <a:pt x="443" y="522"/>
                  </a:lnTo>
                  <a:lnTo>
                    <a:pt x="422" y="542"/>
                  </a:lnTo>
                  <a:lnTo>
                    <a:pt x="401" y="560"/>
                  </a:lnTo>
                  <a:lnTo>
                    <a:pt x="379" y="575"/>
                  </a:lnTo>
                  <a:lnTo>
                    <a:pt x="357" y="588"/>
                  </a:lnTo>
                  <a:lnTo>
                    <a:pt x="346" y="593"/>
                  </a:lnTo>
                  <a:lnTo>
                    <a:pt x="334" y="598"/>
                  </a:lnTo>
                  <a:lnTo>
                    <a:pt x="323" y="601"/>
                  </a:lnTo>
                  <a:lnTo>
                    <a:pt x="311" y="605"/>
                  </a:lnTo>
                  <a:lnTo>
                    <a:pt x="300" y="607"/>
                  </a:lnTo>
                  <a:lnTo>
                    <a:pt x="289" y="609"/>
                  </a:lnTo>
                  <a:lnTo>
                    <a:pt x="277" y="610"/>
                  </a:lnTo>
                  <a:lnTo>
                    <a:pt x="266" y="610"/>
                  </a:lnTo>
                  <a:lnTo>
                    <a:pt x="266" y="610"/>
                  </a:lnTo>
                  <a:close/>
                  <a:moveTo>
                    <a:pt x="139" y="212"/>
                  </a:moveTo>
                  <a:lnTo>
                    <a:pt x="139" y="212"/>
                  </a:lnTo>
                  <a:lnTo>
                    <a:pt x="122" y="223"/>
                  </a:lnTo>
                  <a:lnTo>
                    <a:pt x="107" y="236"/>
                  </a:lnTo>
                  <a:lnTo>
                    <a:pt x="96" y="249"/>
                  </a:lnTo>
                  <a:lnTo>
                    <a:pt x="86" y="263"/>
                  </a:lnTo>
                  <a:lnTo>
                    <a:pt x="77" y="276"/>
                  </a:lnTo>
                  <a:lnTo>
                    <a:pt x="71" y="291"/>
                  </a:lnTo>
                  <a:lnTo>
                    <a:pt x="67" y="304"/>
                  </a:lnTo>
                  <a:lnTo>
                    <a:pt x="66" y="319"/>
                  </a:lnTo>
                  <a:lnTo>
                    <a:pt x="66" y="319"/>
                  </a:lnTo>
                  <a:lnTo>
                    <a:pt x="66" y="327"/>
                  </a:lnTo>
                  <a:lnTo>
                    <a:pt x="68" y="334"/>
                  </a:lnTo>
                  <a:lnTo>
                    <a:pt x="70" y="342"/>
                  </a:lnTo>
                  <a:lnTo>
                    <a:pt x="72" y="350"/>
                  </a:lnTo>
                  <a:lnTo>
                    <a:pt x="76" y="358"/>
                  </a:lnTo>
                  <a:lnTo>
                    <a:pt x="81" y="365"/>
                  </a:lnTo>
                  <a:lnTo>
                    <a:pt x="90" y="379"/>
                  </a:lnTo>
                  <a:lnTo>
                    <a:pt x="101" y="391"/>
                  </a:lnTo>
                  <a:lnTo>
                    <a:pt x="113" y="402"/>
                  </a:lnTo>
                  <a:lnTo>
                    <a:pt x="126" y="413"/>
                  </a:lnTo>
                  <a:lnTo>
                    <a:pt x="139" y="421"/>
                  </a:lnTo>
                  <a:lnTo>
                    <a:pt x="139" y="421"/>
                  </a:lnTo>
                  <a:lnTo>
                    <a:pt x="142" y="424"/>
                  </a:lnTo>
                  <a:lnTo>
                    <a:pt x="146" y="428"/>
                  </a:lnTo>
                  <a:lnTo>
                    <a:pt x="148" y="432"/>
                  </a:lnTo>
                  <a:lnTo>
                    <a:pt x="151" y="437"/>
                  </a:lnTo>
                  <a:lnTo>
                    <a:pt x="151" y="437"/>
                  </a:lnTo>
                  <a:lnTo>
                    <a:pt x="160" y="458"/>
                  </a:lnTo>
                  <a:lnTo>
                    <a:pt x="171" y="479"/>
                  </a:lnTo>
                  <a:lnTo>
                    <a:pt x="182" y="496"/>
                  </a:lnTo>
                  <a:lnTo>
                    <a:pt x="194" y="510"/>
                  </a:lnTo>
                  <a:lnTo>
                    <a:pt x="207" y="522"/>
                  </a:lnTo>
                  <a:lnTo>
                    <a:pt x="214" y="528"/>
                  </a:lnTo>
                  <a:lnTo>
                    <a:pt x="220" y="532"/>
                  </a:lnTo>
                  <a:lnTo>
                    <a:pt x="228" y="536"/>
                  </a:lnTo>
                  <a:lnTo>
                    <a:pt x="235" y="539"/>
                  </a:lnTo>
                  <a:lnTo>
                    <a:pt x="242" y="541"/>
                  </a:lnTo>
                  <a:lnTo>
                    <a:pt x="249" y="543"/>
                  </a:lnTo>
                  <a:lnTo>
                    <a:pt x="249" y="543"/>
                  </a:lnTo>
                  <a:lnTo>
                    <a:pt x="259" y="544"/>
                  </a:lnTo>
                  <a:lnTo>
                    <a:pt x="269" y="544"/>
                  </a:lnTo>
                  <a:lnTo>
                    <a:pt x="278" y="544"/>
                  </a:lnTo>
                  <a:lnTo>
                    <a:pt x="289" y="542"/>
                  </a:lnTo>
                  <a:lnTo>
                    <a:pt x="299" y="540"/>
                  </a:lnTo>
                  <a:lnTo>
                    <a:pt x="308" y="537"/>
                  </a:lnTo>
                  <a:lnTo>
                    <a:pt x="319" y="533"/>
                  </a:lnTo>
                  <a:lnTo>
                    <a:pt x="328" y="528"/>
                  </a:lnTo>
                  <a:lnTo>
                    <a:pt x="347" y="517"/>
                  </a:lnTo>
                  <a:lnTo>
                    <a:pt x="364" y="505"/>
                  </a:lnTo>
                  <a:lnTo>
                    <a:pt x="381" y="490"/>
                  </a:lnTo>
                  <a:lnTo>
                    <a:pt x="395" y="477"/>
                  </a:lnTo>
                  <a:lnTo>
                    <a:pt x="395" y="477"/>
                  </a:lnTo>
                  <a:lnTo>
                    <a:pt x="408" y="462"/>
                  </a:lnTo>
                  <a:lnTo>
                    <a:pt x="419" y="445"/>
                  </a:lnTo>
                  <a:lnTo>
                    <a:pt x="429" y="425"/>
                  </a:lnTo>
                  <a:lnTo>
                    <a:pt x="440" y="404"/>
                  </a:lnTo>
                  <a:lnTo>
                    <a:pt x="448" y="381"/>
                  </a:lnTo>
                  <a:lnTo>
                    <a:pt x="456" y="356"/>
                  </a:lnTo>
                  <a:lnTo>
                    <a:pt x="463" y="330"/>
                  </a:lnTo>
                  <a:lnTo>
                    <a:pt x="469" y="302"/>
                  </a:lnTo>
                  <a:lnTo>
                    <a:pt x="474" y="274"/>
                  </a:lnTo>
                  <a:lnTo>
                    <a:pt x="477" y="246"/>
                  </a:lnTo>
                  <a:lnTo>
                    <a:pt x="480" y="218"/>
                  </a:lnTo>
                  <a:lnTo>
                    <a:pt x="480" y="189"/>
                  </a:lnTo>
                  <a:lnTo>
                    <a:pt x="480" y="162"/>
                  </a:lnTo>
                  <a:lnTo>
                    <a:pt x="477" y="134"/>
                  </a:lnTo>
                  <a:lnTo>
                    <a:pt x="474" y="109"/>
                  </a:lnTo>
                  <a:lnTo>
                    <a:pt x="468" y="84"/>
                  </a:lnTo>
                  <a:lnTo>
                    <a:pt x="468" y="84"/>
                  </a:lnTo>
                  <a:lnTo>
                    <a:pt x="444" y="98"/>
                  </a:lnTo>
                  <a:lnTo>
                    <a:pt x="420" y="110"/>
                  </a:lnTo>
                  <a:lnTo>
                    <a:pt x="397" y="120"/>
                  </a:lnTo>
                  <a:lnTo>
                    <a:pt x="374" y="128"/>
                  </a:lnTo>
                  <a:lnTo>
                    <a:pt x="352" y="136"/>
                  </a:lnTo>
                  <a:lnTo>
                    <a:pt x="330" y="143"/>
                  </a:lnTo>
                  <a:lnTo>
                    <a:pt x="288" y="154"/>
                  </a:lnTo>
                  <a:lnTo>
                    <a:pt x="288" y="154"/>
                  </a:lnTo>
                  <a:lnTo>
                    <a:pt x="248" y="164"/>
                  </a:lnTo>
                  <a:lnTo>
                    <a:pt x="230" y="170"/>
                  </a:lnTo>
                  <a:lnTo>
                    <a:pt x="211" y="176"/>
                  </a:lnTo>
                  <a:lnTo>
                    <a:pt x="192" y="183"/>
                  </a:lnTo>
                  <a:lnTo>
                    <a:pt x="174" y="191"/>
                  </a:lnTo>
                  <a:lnTo>
                    <a:pt x="156" y="201"/>
                  </a:lnTo>
                  <a:lnTo>
                    <a:pt x="139" y="212"/>
                  </a:lnTo>
                  <a:lnTo>
                    <a:pt x="139" y="21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20">
              <a:extLst>
                <a:ext uri="{FF2B5EF4-FFF2-40B4-BE49-F238E27FC236}">
                  <a16:creationId xmlns:a16="http://schemas.microsoft.com/office/drawing/2014/main" id="{19687835-9AA0-46DD-90F6-28457F082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4550" y="1825625"/>
              <a:ext cx="161925" cy="190500"/>
            </a:xfrm>
            <a:custGeom>
              <a:avLst/>
              <a:gdLst>
                <a:gd name="T0" fmla="*/ 320 w 718"/>
                <a:gd name="T1" fmla="*/ 840 h 842"/>
                <a:gd name="T2" fmla="*/ 262 w 718"/>
                <a:gd name="T3" fmla="*/ 822 h 842"/>
                <a:gd name="T4" fmla="*/ 203 w 718"/>
                <a:gd name="T5" fmla="*/ 787 h 842"/>
                <a:gd name="T6" fmla="*/ 145 w 718"/>
                <a:gd name="T7" fmla="*/ 735 h 842"/>
                <a:gd name="T8" fmla="*/ 105 w 718"/>
                <a:gd name="T9" fmla="*/ 690 h 842"/>
                <a:gd name="T10" fmla="*/ 67 w 718"/>
                <a:gd name="T11" fmla="*/ 625 h 842"/>
                <a:gd name="T12" fmla="*/ 37 w 718"/>
                <a:gd name="T13" fmla="*/ 547 h 842"/>
                <a:gd name="T14" fmla="*/ 15 w 718"/>
                <a:gd name="T15" fmla="*/ 456 h 842"/>
                <a:gd name="T16" fmla="*/ 3 w 718"/>
                <a:gd name="T17" fmla="*/ 359 h 842"/>
                <a:gd name="T18" fmla="*/ 1 w 718"/>
                <a:gd name="T19" fmla="*/ 261 h 842"/>
                <a:gd name="T20" fmla="*/ 10 w 718"/>
                <a:gd name="T21" fmla="*/ 166 h 842"/>
                <a:gd name="T22" fmla="*/ 32 w 718"/>
                <a:gd name="T23" fmla="*/ 77 h 842"/>
                <a:gd name="T24" fmla="*/ 57 w 718"/>
                <a:gd name="T25" fmla="*/ 18 h 842"/>
                <a:gd name="T26" fmla="*/ 80 w 718"/>
                <a:gd name="T27" fmla="*/ 1 h 842"/>
                <a:gd name="T28" fmla="*/ 101 w 718"/>
                <a:gd name="T29" fmla="*/ 5 h 842"/>
                <a:gd name="T30" fmla="*/ 138 w 718"/>
                <a:gd name="T31" fmla="*/ 31 h 842"/>
                <a:gd name="T32" fmla="*/ 202 w 718"/>
                <a:gd name="T33" fmla="*/ 70 h 842"/>
                <a:gd name="T34" fmla="*/ 333 w 718"/>
                <a:gd name="T35" fmla="*/ 119 h 842"/>
                <a:gd name="T36" fmla="*/ 439 w 718"/>
                <a:gd name="T37" fmla="*/ 152 h 842"/>
                <a:gd name="T38" fmla="*/ 523 w 718"/>
                <a:gd name="T39" fmla="*/ 188 h 842"/>
                <a:gd name="T40" fmla="*/ 585 w 718"/>
                <a:gd name="T41" fmla="*/ 228 h 842"/>
                <a:gd name="T42" fmla="*/ 627 w 718"/>
                <a:gd name="T43" fmla="*/ 269 h 842"/>
                <a:gd name="T44" fmla="*/ 664 w 718"/>
                <a:gd name="T45" fmla="*/ 317 h 842"/>
                <a:gd name="T46" fmla="*/ 698 w 718"/>
                <a:gd name="T47" fmla="*/ 380 h 842"/>
                <a:gd name="T48" fmla="*/ 715 w 718"/>
                <a:gd name="T49" fmla="*/ 440 h 842"/>
                <a:gd name="T50" fmla="*/ 716 w 718"/>
                <a:gd name="T51" fmla="*/ 498 h 842"/>
                <a:gd name="T52" fmla="*/ 705 w 718"/>
                <a:gd name="T53" fmla="*/ 537 h 842"/>
                <a:gd name="T54" fmla="*/ 678 w 718"/>
                <a:gd name="T55" fmla="*/ 585 h 842"/>
                <a:gd name="T56" fmla="*/ 635 w 718"/>
                <a:gd name="T57" fmla="*/ 628 h 842"/>
                <a:gd name="T58" fmla="*/ 577 w 718"/>
                <a:gd name="T59" fmla="*/ 667 h 842"/>
                <a:gd name="T60" fmla="*/ 534 w 718"/>
                <a:gd name="T61" fmla="*/ 701 h 842"/>
                <a:gd name="T62" fmla="*/ 498 w 718"/>
                <a:gd name="T63" fmla="*/ 760 h 842"/>
                <a:gd name="T64" fmla="*/ 455 w 718"/>
                <a:gd name="T65" fmla="*/ 802 h 842"/>
                <a:gd name="T66" fmla="*/ 409 w 718"/>
                <a:gd name="T67" fmla="*/ 830 h 842"/>
                <a:gd name="T68" fmla="*/ 371 w 718"/>
                <a:gd name="T69" fmla="*/ 840 h 842"/>
                <a:gd name="T70" fmla="*/ 99 w 718"/>
                <a:gd name="T71" fmla="*/ 85 h 842"/>
                <a:gd name="T72" fmla="*/ 83 w 718"/>
                <a:gd name="T73" fmla="*/ 138 h 842"/>
                <a:gd name="T74" fmla="*/ 68 w 718"/>
                <a:gd name="T75" fmla="*/ 235 h 842"/>
                <a:gd name="T76" fmla="*/ 72 w 718"/>
                <a:gd name="T77" fmla="*/ 399 h 842"/>
                <a:gd name="T78" fmla="*/ 107 w 718"/>
                <a:gd name="T79" fmla="*/ 550 h 842"/>
                <a:gd name="T80" fmla="*/ 142 w 718"/>
                <a:gd name="T81" fmla="*/ 625 h 842"/>
                <a:gd name="T82" fmla="*/ 165 w 718"/>
                <a:gd name="T83" fmla="*/ 661 h 842"/>
                <a:gd name="T84" fmla="*/ 217 w 718"/>
                <a:gd name="T85" fmla="*/ 713 h 842"/>
                <a:gd name="T86" fmla="*/ 269 w 718"/>
                <a:gd name="T87" fmla="*/ 751 h 842"/>
                <a:gd name="T88" fmla="*/ 317 w 718"/>
                <a:gd name="T89" fmla="*/ 771 h 842"/>
                <a:gd name="T90" fmla="*/ 362 w 718"/>
                <a:gd name="T91" fmla="*/ 774 h 842"/>
                <a:gd name="T92" fmla="*/ 388 w 718"/>
                <a:gd name="T93" fmla="*/ 767 h 842"/>
                <a:gd name="T94" fmla="*/ 422 w 718"/>
                <a:gd name="T95" fmla="*/ 744 h 842"/>
                <a:gd name="T96" fmla="*/ 460 w 718"/>
                <a:gd name="T97" fmla="*/ 698 h 842"/>
                <a:gd name="T98" fmla="*/ 490 w 718"/>
                <a:gd name="T99" fmla="*/ 640 h 842"/>
                <a:gd name="T100" fmla="*/ 505 w 718"/>
                <a:gd name="T101" fmla="*/ 628 h 842"/>
                <a:gd name="T102" fmla="*/ 594 w 718"/>
                <a:gd name="T103" fmla="*/ 577 h 842"/>
                <a:gd name="T104" fmla="*/ 627 w 718"/>
                <a:gd name="T105" fmla="*/ 543 h 842"/>
                <a:gd name="T106" fmla="*/ 646 w 718"/>
                <a:gd name="T107" fmla="*/ 506 h 842"/>
                <a:gd name="T108" fmla="*/ 652 w 718"/>
                <a:gd name="T109" fmla="*/ 472 h 842"/>
                <a:gd name="T110" fmla="*/ 643 w 718"/>
                <a:gd name="T111" fmla="*/ 423 h 842"/>
                <a:gd name="T112" fmla="*/ 622 w 718"/>
                <a:gd name="T113" fmla="*/ 374 h 842"/>
                <a:gd name="T114" fmla="*/ 576 w 718"/>
                <a:gd name="T115" fmla="*/ 312 h 842"/>
                <a:gd name="T116" fmla="*/ 542 w 718"/>
                <a:gd name="T117" fmla="*/ 279 h 842"/>
                <a:gd name="T118" fmla="*/ 489 w 718"/>
                <a:gd name="T119" fmla="*/ 245 h 842"/>
                <a:gd name="T120" fmla="*/ 381 w 718"/>
                <a:gd name="T121" fmla="*/ 203 h 842"/>
                <a:gd name="T122" fmla="*/ 255 w 718"/>
                <a:gd name="T123" fmla="*/ 164 h 842"/>
                <a:gd name="T124" fmla="*/ 130 w 718"/>
                <a:gd name="T125" fmla="*/ 106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18" h="842">
                  <a:moveTo>
                    <a:pt x="347" y="842"/>
                  </a:moveTo>
                  <a:lnTo>
                    <a:pt x="347" y="842"/>
                  </a:lnTo>
                  <a:lnTo>
                    <a:pt x="334" y="841"/>
                  </a:lnTo>
                  <a:lnTo>
                    <a:pt x="320" y="840"/>
                  </a:lnTo>
                  <a:lnTo>
                    <a:pt x="305" y="836"/>
                  </a:lnTo>
                  <a:lnTo>
                    <a:pt x="291" y="832"/>
                  </a:lnTo>
                  <a:lnTo>
                    <a:pt x="276" y="827"/>
                  </a:lnTo>
                  <a:lnTo>
                    <a:pt x="262" y="822"/>
                  </a:lnTo>
                  <a:lnTo>
                    <a:pt x="247" y="815"/>
                  </a:lnTo>
                  <a:lnTo>
                    <a:pt x="233" y="806"/>
                  </a:lnTo>
                  <a:lnTo>
                    <a:pt x="217" y="797"/>
                  </a:lnTo>
                  <a:lnTo>
                    <a:pt x="203" y="787"/>
                  </a:lnTo>
                  <a:lnTo>
                    <a:pt x="188" y="775"/>
                  </a:lnTo>
                  <a:lnTo>
                    <a:pt x="174" y="763"/>
                  </a:lnTo>
                  <a:lnTo>
                    <a:pt x="159" y="750"/>
                  </a:lnTo>
                  <a:lnTo>
                    <a:pt x="145" y="735"/>
                  </a:lnTo>
                  <a:lnTo>
                    <a:pt x="130" y="720"/>
                  </a:lnTo>
                  <a:lnTo>
                    <a:pt x="116" y="703"/>
                  </a:lnTo>
                  <a:lnTo>
                    <a:pt x="116" y="703"/>
                  </a:lnTo>
                  <a:lnTo>
                    <a:pt x="105" y="690"/>
                  </a:lnTo>
                  <a:lnTo>
                    <a:pt x="95" y="676"/>
                  </a:lnTo>
                  <a:lnTo>
                    <a:pt x="86" y="661"/>
                  </a:lnTo>
                  <a:lnTo>
                    <a:pt x="76" y="643"/>
                  </a:lnTo>
                  <a:lnTo>
                    <a:pt x="67" y="625"/>
                  </a:lnTo>
                  <a:lnTo>
                    <a:pt x="59" y="607"/>
                  </a:lnTo>
                  <a:lnTo>
                    <a:pt x="52" y="588"/>
                  </a:lnTo>
                  <a:lnTo>
                    <a:pt x="44" y="567"/>
                  </a:lnTo>
                  <a:lnTo>
                    <a:pt x="37" y="547"/>
                  </a:lnTo>
                  <a:lnTo>
                    <a:pt x="31" y="525"/>
                  </a:lnTo>
                  <a:lnTo>
                    <a:pt x="25" y="502"/>
                  </a:lnTo>
                  <a:lnTo>
                    <a:pt x="19" y="479"/>
                  </a:lnTo>
                  <a:lnTo>
                    <a:pt x="15" y="456"/>
                  </a:lnTo>
                  <a:lnTo>
                    <a:pt x="11" y="432"/>
                  </a:lnTo>
                  <a:lnTo>
                    <a:pt x="8" y="408"/>
                  </a:lnTo>
                  <a:lnTo>
                    <a:pt x="5" y="384"/>
                  </a:lnTo>
                  <a:lnTo>
                    <a:pt x="3" y="359"/>
                  </a:lnTo>
                  <a:lnTo>
                    <a:pt x="1" y="335"/>
                  </a:lnTo>
                  <a:lnTo>
                    <a:pt x="1" y="310"/>
                  </a:lnTo>
                  <a:lnTo>
                    <a:pt x="0" y="286"/>
                  </a:lnTo>
                  <a:lnTo>
                    <a:pt x="1" y="261"/>
                  </a:lnTo>
                  <a:lnTo>
                    <a:pt x="2" y="236"/>
                  </a:lnTo>
                  <a:lnTo>
                    <a:pt x="4" y="213"/>
                  </a:lnTo>
                  <a:lnTo>
                    <a:pt x="7" y="189"/>
                  </a:lnTo>
                  <a:lnTo>
                    <a:pt x="10" y="166"/>
                  </a:lnTo>
                  <a:lnTo>
                    <a:pt x="14" y="142"/>
                  </a:lnTo>
                  <a:lnTo>
                    <a:pt x="19" y="120"/>
                  </a:lnTo>
                  <a:lnTo>
                    <a:pt x="26" y="99"/>
                  </a:lnTo>
                  <a:lnTo>
                    <a:pt x="32" y="77"/>
                  </a:lnTo>
                  <a:lnTo>
                    <a:pt x="39" y="56"/>
                  </a:lnTo>
                  <a:lnTo>
                    <a:pt x="47" y="3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61" y="12"/>
                  </a:lnTo>
                  <a:lnTo>
                    <a:pt x="67" y="7"/>
                  </a:lnTo>
                  <a:lnTo>
                    <a:pt x="73" y="3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8" y="0"/>
                  </a:lnTo>
                  <a:lnTo>
                    <a:pt x="95" y="1"/>
                  </a:lnTo>
                  <a:lnTo>
                    <a:pt x="101" y="5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23" y="21"/>
                  </a:lnTo>
                  <a:lnTo>
                    <a:pt x="138" y="31"/>
                  </a:lnTo>
                  <a:lnTo>
                    <a:pt x="154" y="43"/>
                  </a:lnTo>
                  <a:lnTo>
                    <a:pt x="169" y="52"/>
                  </a:lnTo>
                  <a:lnTo>
                    <a:pt x="185" y="61"/>
                  </a:lnTo>
                  <a:lnTo>
                    <a:pt x="202" y="70"/>
                  </a:lnTo>
                  <a:lnTo>
                    <a:pt x="234" y="84"/>
                  </a:lnTo>
                  <a:lnTo>
                    <a:pt x="267" y="98"/>
                  </a:lnTo>
                  <a:lnTo>
                    <a:pt x="300" y="109"/>
                  </a:lnTo>
                  <a:lnTo>
                    <a:pt x="333" y="119"/>
                  </a:lnTo>
                  <a:lnTo>
                    <a:pt x="366" y="130"/>
                  </a:lnTo>
                  <a:lnTo>
                    <a:pt x="366" y="130"/>
                  </a:lnTo>
                  <a:lnTo>
                    <a:pt x="402" y="141"/>
                  </a:lnTo>
                  <a:lnTo>
                    <a:pt x="439" y="152"/>
                  </a:lnTo>
                  <a:lnTo>
                    <a:pt x="474" y="165"/>
                  </a:lnTo>
                  <a:lnTo>
                    <a:pt x="490" y="172"/>
                  </a:lnTo>
                  <a:lnTo>
                    <a:pt x="507" y="179"/>
                  </a:lnTo>
                  <a:lnTo>
                    <a:pt x="523" y="188"/>
                  </a:lnTo>
                  <a:lnTo>
                    <a:pt x="540" y="197"/>
                  </a:lnTo>
                  <a:lnTo>
                    <a:pt x="555" y="206"/>
                  </a:lnTo>
                  <a:lnTo>
                    <a:pt x="571" y="217"/>
                  </a:lnTo>
                  <a:lnTo>
                    <a:pt x="585" y="228"/>
                  </a:lnTo>
                  <a:lnTo>
                    <a:pt x="600" y="240"/>
                  </a:lnTo>
                  <a:lnTo>
                    <a:pt x="613" y="254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40" y="285"/>
                  </a:lnTo>
                  <a:lnTo>
                    <a:pt x="653" y="301"/>
                  </a:lnTo>
                  <a:lnTo>
                    <a:pt x="664" y="317"/>
                  </a:lnTo>
                  <a:lnTo>
                    <a:pt x="673" y="334"/>
                  </a:lnTo>
                  <a:lnTo>
                    <a:pt x="683" y="349"/>
                  </a:lnTo>
                  <a:lnTo>
                    <a:pt x="691" y="365"/>
                  </a:lnTo>
                  <a:lnTo>
                    <a:pt x="698" y="380"/>
                  </a:lnTo>
                  <a:lnTo>
                    <a:pt x="705" y="396"/>
                  </a:lnTo>
                  <a:lnTo>
                    <a:pt x="709" y="410"/>
                  </a:lnTo>
                  <a:lnTo>
                    <a:pt x="713" y="426"/>
                  </a:lnTo>
                  <a:lnTo>
                    <a:pt x="715" y="440"/>
                  </a:lnTo>
                  <a:lnTo>
                    <a:pt x="717" y="455"/>
                  </a:lnTo>
                  <a:lnTo>
                    <a:pt x="718" y="469"/>
                  </a:lnTo>
                  <a:lnTo>
                    <a:pt x="717" y="484"/>
                  </a:lnTo>
                  <a:lnTo>
                    <a:pt x="716" y="498"/>
                  </a:lnTo>
                  <a:lnTo>
                    <a:pt x="713" y="512"/>
                  </a:lnTo>
                  <a:lnTo>
                    <a:pt x="713" y="512"/>
                  </a:lnTo>
                  <a:lnTo>
                    <a:pt x="710" y="525"/>
                  </a:lnTo>
                  <a:lnTo>
                    <a:pt x="705" y="537"/>
                  </a:lnTo>
                  <a:lnTo>
                    <a:pt x="699" y="550"/>
                  </a:lnTo>
                  <a:lnTo>
                    <a:pt x="693" y="562"/>
                  </a:lnTo>
                  <a:lnTo>
                    <a:pt x="686" y="574"/>
                  </a:lnTo>
                  <a:lnTo>
                    <a:pt x="678" y="585"/>
                  </a:lnTo>
                  <a:lnTo>
                    <a:pt x="668" y="596"/>
                  </a:lnTo>
                  <a:lnTo>
                    <a:pt x="658" y="608"/>
                  </a:lnTo>
                  <a:lnTo>
                    <a:pt x="647" y="618"/>
                  </a:lnTo>
                  <a:lnTo>
                    <a:pt x="635" y="628"/>
                  </a:lnTo>
                  <a:lnTo>
                    <a:pt x="622" y="639"/>
                  </a:lnTo>
                  <a:lnTo>
                    <a:pt x="608" y="648"/>
                  </a:lnTo>
                  <a:lnTo>
                    <a:pt x="593" y="657"/>
                  </a:lnTo>
                  <a:lnTo>
                    <a:pt x="577" y="667"/>
                  </a:lnTo>
                  <a:lnTo>
                    <a:pt x="561" y="675"/>
                  </a:lnTo>
                  <a:lnTo>
                    <a:pt x="543" y="684"/>
                  </a:lnTo>
                  <a:lnTo>
                    <a:pt x="543" y="684"/>
                  </a:lnTo>
                  <a:lnTo>
                    <a:pt x="534" y="701"/>
                  </a:lnTo>
                  <a:lnTo>
                    <a:pt x="525" y="717"/>
                  </a:lnTo>
                  <a:lnTo>
                    <a:pt x="516" y="732"/>
                  </a:lnTo>
                  <a:lnTo>
                    <a:pt x="507" y="746"/>
                  </a:lnTo>
                  <a:lnTo>
                    <a:pt x="498" y="760"/>
                  </a:lnTo>
                  <a:lnTo>
                    <a:pt x="487" y="772"/>
                  </a:lnTo>
                  <a:lnTo>
                    <a:pt x="477" y="783"/>
                  </a:lnTo>
                  <a:lnTo>
                    <a:pt x="466" y="793"/>
                  </a:lnTo>
                  <a:lnTo>
                    <a:pt x="455" y="802"/>
                  </a:lnTo>
                  <a:lnTo>
                    <a:pt x="444" y="811"/>
                  </a:lnTo>
                  <a:lnTo>
                    <a:pt x="432" y="818"/>
                  </a:lnTo>
                  <a:lnTo>
                    <a:pt x="421" y="824"/>
                  </a:lnTo>
                  <a:lnTo>
                    <a:pt x="409" y="830"/>
                  </a:lnTo>
                  <a:lnTo>
                    <a:pt x="396" y="834"/>
                  </a:lnTo>
                  <a:lnTo>
                    <a:pt x="384" y="837"/>
                  </a:lnTo>
                  <a:lnTo>
                    <a:pt x="371" y="840"/>
                  </a:lnTo>
                  <a:lnTo>
                    <a:pt x="371" y="840"/>
                  </a:lnTo>
                  <a:lnTo>
                    <a:pt x="359" y="842"/>
                  </a:lnTo>
                  <a:lnTo>
                    <a:pt x="347" y="842"/>
                  </a:lnTo>
                  <a:lnTo>
                    <a:pt x="347" y="842"/>
                  </a:lnTo>
                  <a:close/>
                  <a:moveTo>
                    <a:pt x="99" y="85"/>
                  </a:moveTo>
                  <a:lnTo>
                    <a:pt x="99" y="85"/>
                  </a:lnTo>
                  <a:lnTo>
                    <a:pt x="93" y="102"/>
                  </a:lnTo>
                  <a:lnTo>
                    <a:pt x="88" y="119"/>
                  </a:lnTo>
                  <a:lnTo>
                    <a:pt x="83" y="138"/>
                  </a:lnTo>
                  <a:lnTo>
                    <a:pt x="78" y="157"/>
                  </a:lnTo>
                  <a:lnTo>
                    <a:pt x="75" y="175"/>
                  </a:lnTo>
                  <a:lnTo>
                    <a:pt x="72" y="195"/>
                  </a:lnTo>
                  <a:lnTo>
                    <a:pt x="68" y="235"/>
                  </a:lnTo>
                  <a:lnTo>
                    <a:pt x="66" y="276"/>
                  </a:lnTo>
                  <a:lnTo>
                    <a:pt x="66" y="317"/>
                  </a:lnTo>
                  <a:lnTo>
                    <a:pt x="68" y="358"/>
                  </a:lnTo>
                  <a:lnTo>
                    <a:pt x="72" y="399"/>
                  </a:lnTo>
                  <a:lnTo>
                    <a:pt x="78" y="439"/>
                  </a:lnTo>
                  <a:lnTo>
                    <a:pt x="87" y="477"/>
                  </a:lnTo>
                  <a:lnTo>
                    <a:pt x="96" y="515"/>
                  </a:lnTo>
                  <a:lnTo>
                    <a:pt x="107" y="550"/>
                  </a:lnTo>
                  <a:lnTo>
                    <a:pt x="120" y="582"/>
                  </a:lnTo>
                  <a:lnTo>
                    <a:pt x="126" y="597"/>
                  </a:lnTo>
                  <a:lnTo>
                    <a:pt x="133" y="612"/>
                  </a:lnTo>
                  <a:lnTo>
                    <a:pt x="142" y="625"/>
                  </a:lnTo>
                  <a:lnTo>
                    <a:pt x="149" y="638"/>
                  </a:lnTo>
                  <a:lnTo>
                    <a:pt x="157" y="649"/>
                  </a:lnTo>
                  <a:lnTo>
                    <a:pt x="165" y="661"/>
                  </a:lnTo>
                  <a:lnTo>
                    <a:pt x="165" y="661"/>
                  </a:lnTo>
                  <a:lnTo>
                    <a:pt x="179" y="675"/>
                  </a:lnTo>
                  <a:lnTo>
                    <a:pt x="191" y="688"/>
                  </a:lnTo>
                  <a:lnTo>
                    <a:pt x="205" y="701"/>
                  </a:lnTo>
                  <a:lnTo>
                    <a:pt x="217" y="713"/>
                  </a:lnTo>
                  <a:lnTo>
                    <a:pt x="231" y="724"/>
                  </a:lnTo>
                  <a:lnTo>
                    <a:pt x="243" y="734"/>
                  </a:lnTo>
                  <a:lnTo>
                    <a:pt x="256" y="742"/>
                  </a:lnTo>
                  <a:lnTo>
                    <a:pt x="269" y="751"/>
                  </a:lnTo>
                  <a:lnTo>
                    <a:pt x="281" y="757"/>
                  </a:lnTo>
                  <a:lnTo>
                    <a:pt x="294" y="763"/>
                  </a:lnTo>
                  <a:lnTo>
                    <a:pt x="305" y="767"/>
                  </a:lnTo>
                  <a:lnTo>
                    <a:pt x="317" y="771"/>
                  </a:lnTo>
                  <a:lnTo>
                    <a:pt x="329" y="773"/>
                  </a:lnTo>
                  <a:lnTo>
                    <a:pt x="340" y="775"/>
                  </a:lnTo>
                  <a:lnTo>
                    <a:pt x="351" y="775"/>
                  </a:lnTo>
                  <a:lnTo>
                    <a:pt x="362" y="774"/>
                  </a:lnTo>
                  <a:lnTo>
                    <a:pt x="362" y="774"/>
                  </a:lnTo>
                  <a:lnTo>
                    <a:pt x="370" y="772"/>
                  </a:lnTo>
                  <a:lnTo>
                    <a:pt x="380" y="770"/>
                  </a:lnTo>
                  <a:lnTo>
                    <a:pt x="388" y="767"/>
                  </a:lnTo>
                  <a:lnTo>
                    <a:pt x="397" y="762"/>
                  </a:lnTo>
                  <a:lnTo>
                    <a:pt x="405" y="758"/>
                  </a:lnTo>
                  <a:lnTo>
                    <a:pt x="414" y="752"/>
                  </a:lnTo>
                  <a:lnTo>
                    <a:pt x="422" y="744"/>
                  </a:lnTo>
                  <a:lnTo>
                    <a:pt x="429" y="737"/>
                  </a:lnTo>
                  <a:lnTo>
                    <a:pt x="438" y="729"/>
                  </a:lnTo>
                  <a:lnTo>
                    <a:pt x="445" y="718"/>
                  </a:lnTo>
                  <a:lnTo>
                    <a:pt x="460" y="698"/>
                  </a:lnTo>
                  <a:lnTo>
                    <a:pt x="474" y="673"/>
                  </a:lnTo>
                  <a:lnTo>
                    <a:pt x="488" y="645"/>
                  </a:lnTo>
                  <a:lnTo>
                    <a:pt x="488" y="645"/>
                  </a:lnTo>
                  <a:lnTo>
                    <a:pt x="490" y="640"/>
                  </a:lnTo>
                  <a:lnTo>
                    <a:pt x="494" y="636"/>
                  </a:lnTo>
                  <a:lnTo>
                    <a:pt x="500" y="632"/>
                  </a:lnTo>
                  <a:lnTo>
                    <a:pt x="505" y="628"/>
                  </a:lnTo>
                  <a:lnTo>
                    <a:pt x="505" y="628"/>
                  </a:lnTo>
                  <a:lnTo>
                    <a:pt x="535" y="615"/>
                  </a:lnTo>
                  <a:lnTo>
                    <a:pt x="561" y="599"/>
                  </a:lnTo>
                  <a:lnTo>
                    <a:pt x="583" y="584"/>
                  </a:lnTo>
                  <a:lnTo>
                    <a:pt x="594" y="577"/>
                  </a:lnTo>
                  <a:lnTo>
                    <a:pt x="603" y="568"/>
                  </a:lnTo>
                  <a:lnTo>
                    <a:pt x="612" y="560"/>
                  </a:lnTo>
                  <a:lnTo>
                    <a:pt x="620" y="551"/>
                  </a:lnTo>
                  <a:lnTo>
                    <a:pt x="627" y="543"/>
                  </a:lnTo>
                  <a:lnTo>
                    <a:pt x="633" y="533"/>
                  </a:lnTo>
                  <a:lnTo>
                    <a:pt x="638" y="525"/>
                  </a:lnTo>
                  <a:lnTo>
                    <a:pt x="642" y="516"/>
                  </a:lnTo>
                  <a:lnTo>
                    <a:pt x="646" y="506"/>
                  </a:lnTo>
                  <a:lnTo>
                    <a:pt x="649" y="497"/>
                  </a:lnTo>
                  <a:lnTo>
                    <a:pt x="649" y="497"/>
                  </a:lnTo>
                  <a:lnTo>
                    <a:pt x="651" y="485"/>
                  </a:lnTo>
                  <a:lnTo>
                    <a:pt x="652" y="472"/>
                  </a:lnTo>
                  <a:lnTo>
                    <a:pt x="651" y="460"/>
                  </a:lnTo>
                  <a:lnTo>
                    <a:pt x="650" y="447"/>
                  </a:lnTo>
                  <a:lnTo>
                    <a:pt x="647" y="435"/>
                  </a:lnTo>
                  <a:lnTo>
                    <a:pt x="643" y="423"/>
                  </a:lnTo>
                  <a:lnTo>
                    <a:pt x="638" y="410"/>
                  </a:lnTo>
                  <a:lnTo>
                    <a:pt x="633" y="398"/>
                  </a:lnTo>
                  <a:lnTo>
                    <a:pt x="628" y="386"/>
                  </a:lnTo>
                  <a:lnTo>
                    <a:pt x="622" y="374"/>
                  </a:lnTo>
                  <a:lnTo>
                    <a:pt x="607" y="352"/>
                  </a:lnTo>
                  <a:lnTo>
                    <a:pt x="592" y="330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66" y="299"/>
                  </a:lnTo>
                  <a:lnTo>
                    <a:pt x="554" y="289"/>
                  </a:lnTo>
                  <a:lnTo>
                    <a:pt x="542" y="279"/>
                  </a:lnTo>
                  <a:lnTo>
                    <a:pt x="530" y="269"/>
                  </a:lnTo>
                  <a:lnTo>
                    <a:pt x="517" y="260"/>
                  </a:lnTo>
                  <a:lnTo>
                    <a:pt x="504" y="252"/>
                  </a:lnTo>
                  <a:lnTo>
                    <a:pt x="489" y="245"/>
                  </a:lnTo>
                  <a:lnTo>
                    <a:pt x="475" y="237"/>
                  </a:lnTo>
                  <a:lnTo>
                    <a:pt x="445" y="225"/>
                  </a:lnTo>
                  <a:lnTo>
                    <a:pt x="414" y="214"/>
                  </a:lnTo>
                  <a:lnTo>
                    <a:pt x="381" y="203"/>
                  </a:lnTo>
                  <a:lnTo>
                    <a:pt x="346" y="193"/>
                  </a:lnTo>
                  <a:lnTo>
                    <a:pt x="346" y="193"/>
                  </a:lnTo>
                  <a:lnTo>
                    <a:pt x="286" y="174"/>
                  </a:lnTo>
                  <a:lnTo>
                    <a:pt x="255" y="164"/>
                  </a:lnTo>
                  <a:lnTo>
                    <a:pt x="224" y="151"/>
                  </a:lnTo>
                  <a:lnTo>
                    <a:pt x="192" y="138"/>
                  </a:lnTo>
                  <a:lnTo>
                    <a:pt x="161" y="124"/>
                  </a:lnTo>
                  <a:lnTo>
                    <a:pt x="130" y="106"/>
                  </a:lnTo>
                  <a:lnTo>
                    <a:pt x="115" y="96"/>
                  </a:lnTo>
                  <a:lnTo>
                    <a:pt x="99" y="85"/>
                  </a:lnTo>
                  <a:lnTo>
                    <a:pt x="99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21">
              <a:extLst>
                <a:ext uri="{FF2B5EF4-FFF2-40B4-BE49-F238E27FC236}">
                  <a16:creationId xmlns:a16="http://schemas.microsoft.com/office/drawing/2014/main" id="{CB3B0D08-72E7-4907-B2BB-75A5ABBB5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0588" y="1887538"/>
              <a:ext cx="200025" cy="192088"/>
            </a:xfrm>
            <a:custGeom>
              <a:avLst/>
              <a:gdLst>
                <a:gd name="T0" fmla="*/ 504 w 879"/>
                <a:gd name="T1" fmla="*/ 849 h 849"/>
                <a:gd name="T2" fmla="*/ 493 w 879"/>
                <a:gd name="T3" fmla="*/ 847 h 849"/>
                <a:gd name="T4" fmla="*/ 481 w 879"/>
                <a:gd name="T5" fmla="*/ 838 h 849"/>
                <a:gd name="T6" fmla="*/ 475 w 879"/>
                <a:gd name="T7" fmla="*/ 823 h 849"/>
                <a:gd name="T8" fmla="*/ 462 w 879"/>
                <a:gd name="T9" fmla="*/ 780 h 849"/>
                <a:gd name="T10" fmla="*/ 424 w 879"/>
                <a:gd name="T11" fmla="*/ 666 h 849"/>
                <a:gd name="T12" fmla="*/ 365 w 879"/>
                <a:gd name="T13" fmla="*/ 533 h 849"/>
                <a:gd name="T14" fmla="*/ 317 w 879"/>
                <a:gd name="T15" fmla="*/ 443 h 849"/>
                <a:gd name="T16" fmla="*/ 259 w 879"/>
                <a:gd name="T17" fmla="*/ 348 h 849"/>
                <a:gd name="T18" fmla="*/ 189 w 879"/>
                <a:gd name="T19" fmla="*/ 250 h 849"/>
                <a:gd name="T20" fmla="*/ 106 w 879"/>
                <a:gd name="T21" fmla="*/ 153 h 849"/>
                <a:gd name="T22" fmla="*/ 11 w 879"/>
                <a:gd name="T23" fmla="*/ 57 h 849"/>
                <a:gd name="T24" fmla="*/ 3 w 879"/>
                <a:gd name="T25" fmla="*/ 47 h 849"/>
                <a:gd name="T26" fmla="*/ 0 w 879"/>
                <a:gd name="T27" fmla="*/ 28 h 849"/>
                <a:gd name="T28" fmla="*/ 8 w 879"/>
                <a:gd name="T29" fmla="*/ 11 h 849"/>
                <a:gd name="T30" fmla="*/ 19 w 879"/>
                <a:gd name="T31" fmla="*/ 4 h 849"/>
                <a:gd name="T32" fmla="*/ 38 w 879"/>
                <a:gd name="T33" fmla="*/ 0 h 849"/>
                <a:gd name="T34" fmla="*/ 56 w 879"/>
                <a:gd name="T35" fmla="*/ 9 h 849"/>
                <a:gd name="T36" fmla="*/ 106 w 879"/>
                <a:gd name="T37" fmla="*/ 56 h 849"/>
                <a:gd name="T38" fmla="*/ 177 w 879"/>
                <a:gd name="T39" fmla="*/ 131 h 849"/>
                <a:gd name="T40" fmla="*/ 240 w 879"/>
                <a:gd name="T41" fmla="*/ 206 h 849"/>
                <a:gd name="T42" fmla="*/ 343 w 879"/>
                <a:gd name="T43" fmla="*/ 355 h 849"/>
                <a:gd name="T44" fmla="*/ 422 w 879"/>
                <a:gd name="T45" fmla="*/ 497 h 849"/>
                <a:gd name="T46" fmla="*/ 478 w 879"/>
                <a:gd name="T47" fmla="*/ 621 h 849"/>
                <a:gd name="T48" fmla="*/ 514 w 879"/>
                <a:gd name="T49" fmla="*/ 721 h 849"/>
                <a:gd name="T50" fmla="*/ 549 w 879"/>
                <a:gd name="T51" fmla="*/ 657 h 849"/>
                <a:gd name="T52" fmla="*/ 595 w 879"/>
                <a:gd name="T53" fmla="*/ 586 h 849"/>
                <a:gd name="T54" fmla="*/ 653 w 879"/>
                <a:gd name="T55" fmla="*/ 514 h 849"/>
                <a:gd name="T56" fmla="*/ 722 w 879"/>
                <a:gd name="T57" fmla="*/ 445 h 849"/>
                <a:gd name="T58" fmla="*/ 803 w 879"/>
                <a:gd name="T59" fmla="*/ 387 h 849"/>
                <a:gd name="T60" fmla="*/ 838 w 879"/>
                <a:gd name="T61" fmla="*/ 369 h 849"/>
                <a:gd name="T62" fmla="*/ 858 w 879"/>
                <a:gd name="T63" fmla="*/ 369 h 849"/>
                <a:gd name="T64" fmla="*/ 873 w 879"/>
                <a:gd name="T65" fmla="*/ 380 h 849"/>
                <a:gd name="T66" fmla="*/ 878 w 879"/>
                <a:gd name="T67" fmla="*/ 392 h 849"/>
                <a:gd name="T68" fmla="*/ 878 w 879"/>
                <a:gd name="T69" fmla="*/ 411 h 849"/>
                <a:gd name="T70" fmla="*/ 867 w 879"/>
                <a:gd name="T71" fmla="*/ 427 h 849"/>
                <a:gd name="T72" fmla="*/ 842 w 879"/>
                <a:gd name="T73" fmla="*/ 440 h 849"/>
                <a:gd name="T74" fmla="*/ 786 w 879"/>
                <a:gd name="T75" fmla="*/ 477 h 849"/>
                <a:gd name="T76" fmla="*/ 737 w 879"/>
                <a:gd name="T77" fmla="*/ 521 h 849"/>
                <a:gd name="T78" fmla="*/ 692 w 879"/>
                <a:gd name="T79" fmla="*/ 569 h 849"/>
                <a:gd name="T80" fmla="*/ 621 w 879"/>
                <a:gd name="T81" fmla="*/ 668 h 849"/>
                <a:gd name="T82" fmla="*/ 570 w 879"/>
                <a:gd name="T83" fmla="*/ 756 h 849"/>
                <a:gd name="T84" fmla="*/ 538 w 879"/>
                <a:gd name="T85" fmla="*/ 828 h 849"/>
                <a:gd name="T86" fmla="*/ 533 w 879"/>
                <a:gd name="T87" fmla="*/ 836 h 849"/>
                <a:gd name="T88" fmla="*/ 521 w 879"/>
                <a:gd name="T89" fmla="*/ 846 h 849"/>
                <a:gd name="T90" fmla="*/ 507 w 879"/>
                <a:gd name="T91" fmla="*/ 849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79" h="849">
                  <a:moveTo>
                    <a:pt x="507" y="849"/>
                  </a:moveTo>
                  <a:lnTo>
                    <a:pt x="507" y="849"/>
                  </a:lnTo>
                  <a:lnTo>
                    <a:pt x="504" y="849"/>
                  </a:lnTo>
                  <a:lnTo>
                    <a:pt x="504" y="849"/>
                  </a:lnTo>
                  <a:lnTo>
                    <a:pt x="499" y="849"/>
                  </a:lnTo>
                  <a:lnTo>
                    <a:pt x="493" y="847"/>
                  </a:lnTo>
                  <a:lnTo>
                    <a:pt x="489" y="845"/>
                  </a:lnTo>
                  <a:lnTo>
                    <a:pt x="485" y="842"/>
                  </a:lnTo>
                  <a:lnTo>
                    <a:pt x="481" y="838"/>
                  </a:lnTo>
                  <a:lnTo>
                    <a:pt x="478" y="833"/>
                  </a:lnTo>
                  <a:lnTo>
                    <a:pt x="476" y="828"/>
                  </a:lnTo>
                  <a:lnTo>
                    <a:pt x="475" y="823"/>
                  </a:lnTo>
                  <a:lnTo>
                    <a:pt x="475" y="823"/>
                  </a:lnTo>
                  <a:lnTo>
                    <a:pt x="470" y="802"/>
                  </a:lnTo>
                  <a:lnTo>
                    <a:pt x="462" y="780"/>
                  </a:lnTo>
                  <a:lnTo>
                    <a:pt x="453" y="748"/>
                  </a:lnTo>
                  <a:lnTo>
                    <a:pt x="440" y="710"/>
                  </a:lnTo>
                  <a:lnTo>
                    <a:pt x="424" y="666"/>
                  </a:lnTo>
                  <a:lnTo>
                    <a:pt x="403" y="616"/>
                  </a:lnTo>
                  <a:lnTo>
                    <a:pt x="380" y="562"/>
                  </a:lnTo>
                  <a:lnTo>
                    <a:pt x="365" y="533"/>
                  </a:lnTo>
                  <a:lnTo>
                    <a:pt x="351" y="504"/>
                  </a:lnTo>
                  <a:lnTo>
                    <a:pt x="335" y="474"/>
                  </a:lnTo>
                  <a:lnTo>
                    <a:pt x="317" y="443"/>
                  </a:lnTo>
                  <a:lnTo>
                    <a:pt x="300" y="411"/>
                  </a:lnTo>
                  <a:lnTo>
                    <a:pt x="280" y="380"/>
                  </a:lnTo>
                  <a:lnTo>
                    <a:pt x="259" y="348"/>
                  </a:lnTo>
                  <a:lnTo>
                    <a:pt x="237" y="315"/>
                  </a:lnTo>
                  <a:lnTo>
                    <a:pt x="214" y="283"/>
                  </a:lnTo>
                  <a:lnTo>
                    <a:pt x="189" y="250"/>
                  </a:lnTo>
                  <a:lnTo>
                    <a:pt x="163" y="217"/>
                  </a:lnTo>
                  <a:lnTo>
                    <a:pt x="135" y="185"/>
                  </a:lnTo>
                  <a:lnTo>
                    <a:pt x="106" y="153"/>
                  </a:lnTo>
                  <a:lnTo>
                    <a:pt x="76" y="120"/>
                  </a:lnTo>
                  <a:lnTo>
                    <a:pt x="44" y="88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6" y="52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5" y="16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3" y="7"/>
                  </a:lnTo>
                  <a:lnTo>
                    <a:pt x="19" y="4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4" y="1"/>
                  </a:lnTo>
                  <a:lnTo>
                    <a:pt x="49" y="5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81" y="33"/>
                  </a:lnTo>
                  <a:lnTo>
                    <a:pt x="106" y="56"/>
                  </a:lnTo>
                  <a:lnTo>
                    <a:pt x="131" y="81"/>
                  </a:lnTo>
                  <a:lnTo>
                    <a:pt x="154" y="106"/>
                  </a:lnTo>
                  <a:lnTo>
                    <a:pt x="177" y="131"/>
                  </a:lnTo>
                  <a:lnTo>
                    <a:pt x="198" y="156"/>
                  </a:lnTo>
                  <a:lnTo>
                    <a:pt x="219" y="182"/>
                  </a:lnTo>
                  <a:lnTo>
                    <a:pt x="240" y="206"/>
                  </a:lnTo>
                  <a:lnTo>
                    <a:pt x="277" y="256"/>
                  </a:lnTo>
                  <a:lnTo>
                    <a:pt x="312" y="307"/>
                  </a:lnTo>
                  <a:lnTo>
                    <a:pt x="343" y="355"/>
                  </a:lnTo>
                  <a:lnTo>
                    <a:pt x="372" y="404"/>
                  </a:lnTo>
                  <a:lnTo>
                    <a:pt x="399" y="452"/>
                  </a:lnTo>
                  <a:lnTo>
                    <a:pt x="422" y="497"/>
                  </a:lnTo>
                  <a:lnTo>
                    <a:pt x="443" y="541"/>
                  </a:lnTo>
                  <a:lnTo>
                    <a:pt x="461" y="582"/>
                  </a:lnTo>
                  <a:lnTo>
                    <a:pt x="478" y="621"/>
                  </a:lnTo>
                  <a:lnTo>
                    <a:pt x="492" y="657"/>
                  </a:lnTo>
                  <a:lnTo>
                    <a:pt x="504" y="691"/>
                  </a:lnTo>
                  <a:lnTo>
                    <a:pt x="514" y="721"/>
                  </a:lnTo>
                  <a:lnTo>
                    <a:pt x="514" y="721"/>
                  </a:lnTo>
                  <a:lnTo>
                    <a:pt x="536" y="679"/>
                  </a:lnTo>
                  <a:lnTo>
                    <a:pt x="549" y="657"/>
                  </a:lnTo>
                  <a:lnTo>
                    <a:pt x="563" y="634"/>
                  </a:lnTo>
                  <a:lnTo>
                    <a:pt x="578" y="610"/>
                  </a:lnTo>
                  <a:lnTo>
                    <a:pt x="595" y="586"/>
                  </a:lnTo>
                  <a:lnTo>
                    <a:pt x="612" y="562"/>
                  </a:lnTo>
                  <a:lnTo>
                    <a:pt x="632" y="537"/>
                  </a:lnTo>
                  <a:lnTo>
                    <a:pt x="653" y="514"/>
                  </a:lnTo>
                  <a:lnTo>
                    <a:pt x="674" y="490"/>
                  </a:lnTo>
                  <a:lnTo>
                    <a:pt x="697" y="467"/>
                  </a:lnTo>
                  <a:lnTo>
                    <a:pt x="722" y="445"/>
                  </a:lnTo>
                  <a:lnTo>
                    <a:pt x="747" y="425"/>
                  </a:lnTo>
                  <a:lnTo>
                    <a:pt x="774" y="405"/>
                  </a:lnTo>
                  <a:lnTo>
                    <a:pt x="803" y="387"/>
                  </a:lnTo>
                  <a:lnTo>
                    <a:pt x="832" y="371"/>
                  </a:lnTo>
                  <a:lnTo>
                    <a:pt x="832" y="371"/>
                  </a:lnTo>
                  <a:lnTo>
                    <a:pt x="838" y="369"/>
                  </a:lnTo>
                  <a:lnTo>
                    <a:pt x="845" y="368"/>
                  </a:lnTo>
                  <a:lnTo>
                    <a:pt x="851" y="368"/>
                  </a:lnTo>
                  <a:lnTo>
                    <a:pt x="858" y="369"/>
                  </a:lnTo>
                  <a:lnTo>
                    <a:pt x="863" y="372"/>
                  </a:lnTo>
                  <a:lnTo>
                    <a:pt x="868" y="375"/>
                  </a:lnTo>
                  <a:lnTo>
                    <a:pt x="873" y="380"/>
                  </a:lnTo>
                  <a:lnTo>
                    <a:pt x="876" y="385"/>
                  </a:lnTo>
                  <a:lnTo>
                    <a:pt x="876" y="385"/>
                  </a:lnTo>
                  <a:lnTo>
                    <a:pt x="878" y="392"/>
                  </a:lnTo>
                  <a:lnTo>
                    <a:pt x="879" y="399"/>
                  </a:lnTo>
                  <a:lnTo>
                    <a:pt x="879" y="405"/>
                  </a:lnTo>
                  <a:lnTo>
                    <a:pt x="878" y="411"/>
                  </a:lnTo>
                  <a:lnTo>
                    <a:pt x="875" y="416"/>
                  </a:lnTo>
                  <a:lnTo>
                    <a:pt x="872" y="422"/>
                  </a:lnTo>
                  <a:lnTo>
                    <a:pt x="867" y="427"/>
                  </a:lnTo>
                  <a:lnTo>
                    <a:pt x="862" y="430"/>
                  </a:lnTo>
                  <a:lnTo>
                    <a:pt x="862" y="430"/>
                  </a:lnTo>
                  <a:lnTo>
                    <a:pt x="842" y="440"/>
                  </a:lnTo>
                  <a:lnTo>
                    <a:pt x="822" y="452"/>
                  </a:lnTo>
                  <a:lnTo>
                    <a:pt x="805" y="464"/>
                  </a:lnTo>
                  <a:lnTo>
                    <a:pt x="786" y="477"/>
                  </a:lnTo>
                  <a:lnTo>
                    <a:pt x="770" y="492"/>
                  </a:lnTo>
                  <a:lnTo>
                    <a:pt x="753" y="506"/>
                  </a:lnTo>
                  <a:lnTo>
                    <a:pt x="737" y="521"/>
                  </a:lnTo>
                  <a:lnTo>
                    <a:pt x="721" y="536"/>
                  </a:lnTo>
                  <a:lnTo>
                    <a:pt x="707" y="553"/>
                  </a:lnTo>
                  <a:lnTo>
                    <a:pt x="692" y="569"/>
                  </a:lnTo>
                  <a:lnTo>
                    <a:pt x="666" y="602"/>
                  </a:lnTo>
                  <a:lnTo>
                    <a:pt x="641" y="635"/>
                  </a:lnTo>
                  <a:lnTo>
                    <a:pt x="621" y="668"/>
                  </a:lnTo>
                  <a:lnTo>
                    <a:pt x="601" y="699"/>
                  </a:lnTo>
                  <a:lnTo>
                    <a:pt x="584" y="729"/>
                  </a:lnTo>
                  <a:lnTo>
                    <a:pt x="570" y="756"/>
                  </a:lnTo>
                  <a:lnTo>
                    <a:pt x="559" y="780"/>
                  </a:lnTo>
                  <a:lnTo>
                    <a:pt x="543" y="815"/>
                  </a:lnTo>
                  <a:lnTo>
                    <a:pt x="538" y="828"/>
                  </a:lnTo>
                  <a:lnTo>
                    <a:pt x="538" y="828"/>
                  </a:lnTo>
                  <a:lnTo>
                    <a:pt x="536" y="832"/>
                  </a:lnTo>
                  <a:lnTo>
                    <a:pt x="533" y="836"/>
                  </a:lnTo>
                  <a:lnTo>
                    <a:pt x="530" y="841"/>
                  </a:lnTo>
                  <a:lnTo>
                    <a:pt x="525" y="844"/>
                  </a:lnTo>
                  <a:lnTo>
                    <a:pt x="521" y="846"/>
                  </a:lnTo>
                  <a:lnTo>
                    <a:pt x="516" y="848"/>
                  </a:lnTo>
                  <a:lnTo>
                    <a:pt x="512" y="849"/>
                  </a:lnTo>
                  <a:lnTo>
                    <a:pt x="507" y="849"/>
                  </a:lnTo>
                  <a:lnTo>
                    <a:pt x="507" y="849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7AC61F6-413D-4FAB-8EAB-EFE62F4AEE9B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592E4EC1-381C-4AA4-A2A1-C38E33FF0ECA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14AA63AB-D83B-4D24-9835-F494891829B3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7508F7C4-1797-4FBB-998A-A2A861D18C61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819679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 descr="A close up of a plant&#10;&#10;Description automatically generated">
            <a:extLst>
              <a:ext uri="{FF2B5EF4-FFF2-40B4-BE49-F238E27FC236}">
                <a16:creationId xmlns:a16="http://schemas.microsoft.com/office/drawing/2014/main" id="{E65EAAF3-0FEB-4D7A-BB59-C874CACDD7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r="43660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74AB30FB-37D5-4529-9A4D-7620D9954900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30574C">
                  <a:alpha val="90000"/>
                </a:srgbClr>
              </a:gs>
              <a:gs pos="45000">
                <a:srgbClr val="50745C">
                  <a:alpha val="80000"/>
                </a:srgbClr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Graphic 460">
            <a:extLst>
              <a:ext uri="{FF2B5EF4-FFF2-40B4-BE49-F238E27FC236}">
                <a16:creationId xmlns:a16="http://schemas.microsoft.com/office/drawing/2014/main" id="{F7E1CE63-97E6-4AC2-8EC6-7F38D33E431F}"/>
              </a:ext>
            </a:extLst>
          </p:cNvPr>
          <p:cNvSpPr/>
          <p:nvPr/>
        </p:nvSpPr>
        <p:spPr>
          <a:xfrm flipH="1">
            <a:off x="11100626" y="306946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6844A387-AE32-4F60-B073-AE983B575B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1309592" flipH="1">
            <a:off x="10361748" y="4561292"/>
            <a:ext cx="1173145" cy="2510941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6D71D848-6EDA-4C8C-B793-C49059ADA6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58625" y="3663620"/>
            <a:ext cx="1525277" cy="331582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FB9E4EBF-EE15-4A06-841A-EC756A9E57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27911" y="5407708"/>
            <a:ext cx="772715" cy="1534546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894B5B69-BA08-485E-B699-11127AC39D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23257" y="5008243"/>
            <a:ext cx="1954192" cy="2018264"/>
          </a:xfrm>
          <a:prstGeom prst="rect">
            <a:avLst/>
          </a:prstGeom>
        </p:spPr>
      </p:pic>
      <p:sp>
        <p:nvSpPr>
          <p:cNvPr id="54" name="Graphic 460">
            <a:extLst>
              <a:ext uri="{FF2B5EF4-FFF2-40B4-BE49-F238E27FC236}">
                <a16:creationId xmlns:a16="http://schemas.microsoft.com/office/drawing/2014/main" id="{06A67598-A70D-45EC-A232-CD4A44AF97A3}"/>
              </a:ext>
            </a:extLst>
          </p:cNvPr>
          <p:cNvSpPr/>
          <p:nvPr/>
        </p:nvSpPr>
        <p:spPr>
          <a:xfrm>
            <a:off x="9318422" y="399808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EB26580D-6C98-48B9-B7E0-5AC3EB90302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55280" y="4607019"/>
            <a:ext cx="1721844" cy="2419488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52A3C5BC-AC30-4CEF-911B-39427DF67B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606986">
            <a:off x="9000803" y="5654501"/>
            <a:ext cx="1343576" cy="13876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7F68852-54BC-4A61-8EB4-C6F63E3D2C1D}"/>
              </a:ext>
            </a:extLst>
          </p:cNvPr>
          <p:cNvSpPr txBox="1"/>
          <p:nvPr/>
        </p:nvSpPr>
        <p:spPr>
          <a:xfrm>
            <a:off x="957805" y="804757"/>
            <a:ext cx="472249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d-ID" sz="4400" b="1" dirty="0">
                <a:solidFill>
                  <a:schemeClr val="bg1"/>
                </a:solidFill>
              </a:rPr>
              <a:t>HISTORY</a:t>
            </a:r>
            <a:endParaRPr lang="en-US" sz="4400" b="1" dirty="0">
              <a:solidFill>
                <a:srgbClr val="E1BE63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89E680D-D6D0-4168-AB84-5C58E865B4D8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FE927C0-2D79-4DD9-91CD-BFFA67E91168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73F576B5-90DF-491E-BF2A-1A1A5FD7A0DE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891E2C3E-FEAA-4C1E-A819-C7E6BEC6DF5C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4" name="Picture 103">
            <a:extLst>
              <a:ext uri="{FF2B5EF4-FFF2-40B4-BE49-F238E27FC236}">
                <a16:creationId xmlns:a16="http://schemas.microsoft.com/office/drawing/2014/main" id="{2A94AB44-E0F0-4832-971A-3C1D77792EE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-2034740" y="3865455"/>
            <a:ext cx="8427572" cy="4018987"/>
          </a:xfrm>
          <a:prstGeom prst="rect">
            <a:avLst/>
          </a:prstGeom>
        </p:spPr>
      </p:pic>
      <p:sp>
        <p:nvSpPr>
          <p:cNvPr id="59" name="Rectangle: Top Corners Rounded 58">
            <a:extLst>
              <a:ext uri="{FF2B5EF4-FFF2-40B4-BE49-F238E27FC236}">
                <a16:creationId xmlns:a16="http://schemas.microsoft.com/office/drawing/2014/main" id="{83147F51-BBC4-4DD2-B60F-45D6E2A865AA}"/>
              </a:ext>
            </a:extLst>
          </p:cNvPr>
          <p:cNvSpPr/>
          <p:nvPr/>
        </p:nvSpPr>
        <p:spPr>
          <a:xfrm rot="5400000">
            <a:off x="4197871" y="-1779454"/>
            <a:ext cx="3271581" cy="11667323"/>
          </a:xfrm>
          <a:prstGeom prst="round2SameRect">
            <a:avLst>
              <a:gd name="adj1" fmla="val 9125"/>
              <a:gd name="adj2" fmla="val 0"/>
            </a:avLst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Rounded Rectangle 12">
            <a:extLst>
              <a:ext uri="{FF2B5EF4-FFF2-40B4-BE49-F238E27FC236}">
                <a16:creationId xmlns:a16="http://schemas.microsoft.com/office/drawing/2014/main" id="{11AEBF62-A05B-4EC1-9F17-C05B2BEF6973}"/>
              </a:ext>
            </a:extLst>
          </p:cNvPr>
          <p:cNvSpPr/>
          <p:nvPr/>
        </p:nvSpPr>
        <p:spPr>
          <a:xfrm rot="2700000">
            <a:off x="1110918" y="2100129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8FA5CAF-CECB-4F60-B889-CFB6B5B13894}"/>
              </a:ext>
            </a:extLst>
          </p:cNvPr>
          <p:cNvGrpSpPr/>
          <p:nvPr/>
        </p:nvGrpSpPr>
        <p:grpSpPr>
          <a:xfrm>
            <a:off x="971301" y="3333703"/>
            <a:ext cx="2167349" cy="1801582"/>
            <a:chOff x="3319052" y="3503532"/>
            <a:chExt cx="2167349" cy="180158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607AD9-A687-4F2F-B876-D5C903D3CFAF}"/>
                </a:ext>
              </a:extLst>
            </p:cNvPr>
            <p:cNvSpPr txBox="1"/>
            <p:nvPr/>
          </p:nvSpPr>
          <p:spPr>
            <a:xfrm>
              <a:off x="3319053" y="3503532"/>
              <a:ext cx="21673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1FCEF42-3659-45D4-8C11-E364A231D97D}"/>
                </a:ext>
              </a:extLst>
            </p:cNvPr>
            <p:cNvSpPr/>
            <p:nvPr/>
          </p:nvSpPr>
          <p:spPr>
            <a:xfrm>
              <a:off x="3319053" y="4012452"/>
              <a:ext cx="2167348" cy="129266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o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iu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emp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incididun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labor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et dolore magna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liqua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57DC504-C96F-4D5B-B41F-8E33BD959DEC}"/>
                </a:ext>
              </a:extLst>
            </p:cNvPr>
            <p:cNvGrpSpPr/>
            <p:nvPr/>
          </p:nvGrpSpPr>
          <p:grpSpPr>
            <a:xfrm>
              <a:off x="3319052" y="3847534"/>
              <a:ext cx="2167348" cy="36359"/>
              <a:chOff x="3319052" y="3864806"/>
              <a:chExt cx="2167348" cy="36359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BB0BE1D9-8143-4B16-A84A-3AEF30A3B20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19052" y="3882341"/>
                <a:ext cx="2167348" cy="0"/>
              </a:xfrm>
              <a:prstGeom prst="line">
                <a:avLst/>
              </a:prstGeom>
              <a:ln>
                <a:solidFill>
                  <a:srgbClr val="30574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88582B25-83A9-4ABA-ACCF-A83D3B3A28A6}"/>
                  </a:ext>
                </a:extLst>
              </p:cNvPr>
              <p:cNvSpPr/>
              <p:nvPr/>
            </p:nvSpPr>
            <p:spPr>
              <a:xfrm>
                <a:off x="3319052" y="3864806"/>
                <a:ext cx="167418" cy="36359"/>
              </a:xfrm>
              <a:prstGeom prst="roundRect">
                <a:avLst>
                  <a:gd name="adj" fmla="val 50000"/>
                </a:avLst>
              </a:prstGeom>
              <a:solidFill>
                <a:srgbClr val="2A3E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</p:grpSp>
      <p:sp>
        <p:nvSpPr>
          <p:cNvPr id="20" name="Rounded Rectangle 12">
            <a:extLst>
              <a:ext uri="{FF2B5EF4-FFF2-40B4-BE49-F238E27FC236}">
                <a16:creationId xmlns:a16="http://schemas.microsoft.com/office/drawing/2014/main" id="{6635137A-AF70-4F75-A05A-9C3FDD7CF84D}"/>
              </a:ext>
            </a:extLst>
          </p:cNvPr>
          <p:cNvSpPr/>
          <p:nvPr/>
        </p:nvSpPr>
        <p:spPr>
          <a:xfrm rot="2700000">
            <a:off x="3804934" y="2100129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3BBE05A-C926-469B-B39B-B5D02CC8697E}"/>
              </a:ext>
            </a:extLst>
          </p:cNvPr>
          <p:cNvGrpSpPr/>
          <p:nvPr/>
        </p:nvGrpSpPr>
        <p:grpSpPr>
          <a:xfrm>
            <a:off x="3665317" y="3333703"/>
            <a:ext cx="2167349" cy="1801582"/>
            <a:chOff x="3319052" y="3503532"/>
            <a:chExt cx="2167349" cy="1801582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3A9A141-BFD8-4D3F-AA01-269015CAE955}"/>
                </a:ext>
              </a:extLst>
            </p:cNvPr>
            <p:cNvSpPr txBox="1"/>
            <p:nvPr/>
          </p:nvSpPr>
          <p:spPr>
            <a:xfrm>
              <a:off x="3319053" y="3503532"/>
              <a:ext cx="21673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610B41B-277D-4764-8536-8F2EA068011D}"/>
                </a:ext>
              </a:extLst>
            </p:cNvPr>
            <p:cNvSpPr/>
            <p:nvPr/>
          </p:nvSpPr>
          <p:spPr>
            <a:xfrm>
              <a:off x="3319053" y="4012452"/>
              <a:ext cx="2167348" cy="129266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o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iu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emp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incididun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labor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et dolore magna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liqua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B12A6CB-5E69-4F0F-8461-0A03841DD318}"/>
                </a:ext>
              </a:extLst>
            </p:cNvPr>
            <p:cNvGrpSpPr/>
            <p:nvPr/>
          </p:nvGrpSpPr>
          <p:grpSpPr>
            <a:xfrm>
              <a:off x="3319052" y="3847534"/>
              <a:ext cx="2167348" cy="36359"/>
              <a:chOff x="3319052" y="3864806"/>
              <a:chExt cx="2167348" cy="36359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D3D08779-12BB-466E-9095-8F9D6361CD7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19052" y="3882341"/>
                <a:ext cx="2167348" cy="0"/>
              </a:xfrm>
              <a:prstGeom prst="line">
                <a:avLst/>
              </a:prstGeom>
              <a:ln>
                <a:solidFill>
                  <a:srgbClr val="30574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270BA5B9-5DFF-4A20-94B6-7556E8E99858}"/>
                  </a:ext>
                </a:extLst>
              </p:cNvPr>
              <p:cNvSpPr/>
              <p:nvPr/>
            </p:nvSpPr>
            <p:spPr>
              <a:xfrm>
                <a:off x="3319052" y="3864806"/>
                <a:ext cx="167418" cy="36359"/>
              </a:xfrm>
              <a:prstGeom prst="roundRect">
                <a:avLst>
                  <a:gd name="adj" fmla="val 50000"/>
                </a:avLst>
              </a:prstGeom>
              <a:solidFill>
                <a:srgbClr val="2A3E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</p:grpSp>
      <p:sp>
        <p:nvSpPr>
          <p:cNvPr id="28" name="Rounded Rectangle 12">
            <a:extLst>
              <a:ext uri="{FF2B5EF4-FFF2-40B4-BE49-F238E27FC236}">
                <a16:creationId xmlns:a16="http://schemas.microsoft.com/office/drawing/2014/main" id="{188F0CDA-194B-4C8D-A20D-D377A7A7C4BB}"/>
              </a:ext>
            </a:extLst>
          </p:cNvPr>
          <p:cNvSpPr/>
          <p:nvPr/>
        </p:nvSpPr>
        <p:spPr>
          <a:xfrm rot="2700000">
            <a:off x="6498950" y="2100129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E0EEBAB-CA85-43E0-AB02-18F923C2E04D}"/>
              </a:ext>
            </a:extLst>
          </p:cNvPr>
          <p:cNvGrpSpPr/>
          <p:nvPr/>
        </p:nvGrpSpPr>
        <p:grpSpPr>
          <a:xfrm>
            <a:off x="6359333" y="3333703"/>
            <a:ext cx="2167349" cy="1801582"/>
            <a:chOff x="3319052" y="3503532"/>
            <a:chExt cx="2167349" cy="180158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E861BC4-7D1B-49C7-AF17-CE5EC4D3F765}"/>
                </a:ext>
              </a:extLst>
            </p:cNvPr>
            <p:cNvSpPr txBox="1"/>
            <p:nvPr/>
          </p:nvSpPr>
          <p:spPr>
            <a:xfrm>
              <a:off x="3319053" y="3503532"/>
              <a:ext cx="21673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94E906A-6EE4-4966-A4C8-463859DFBAB7}"/>
                </a:ext>
              </a:extLst>
            </p:cNvPr>
            <p:cNvSpPr/>
            <p:nvPr/>
          </p:nvSpPr>
          <p:spPr>
            <a:xfrm>
              <a:off x="3319053" y="4012452"/>
              <a:ext cx="2167348" cy="129266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o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iu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emp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incididun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labor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et dolore magna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liqua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B3C4DE78-7498-4A8E-8059-AAA730F9A2CE}"/>
                </a:ext>
              </a:extLst>
            </p:cNvPr>
            <p:cNvGrpSpPr/>
            <p:nvPr/>
          </p:nvGrpSpPr>
          <p:grpSpPr>
            <a:xfrm>
              <a:off x="3319052" y="3847534"/>
              <a:ext cx="2167348" cy="36359"/>
              <a:chOff x="3319052" y="3864806"/>
              <a:chExt cx="2167348" cy="36359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A54BC354-152B-44B2-BF41-FEB716DF932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19052" y="3882341"/>
                <a:ext cx="2167348" cy="0"/>
              </a:xfrm>
              <a:prstGeom prst="line">
                <a:avLst/>
              </a:prstGeom>
              <a:ln>
                <a:solidFill>
                  <a:srgbClr val="30574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8D42496C-177B-4C0A-9AE8-67F9894130CF}"/>
                  </a:ext>
                </a:extLst>
              </p:cNvPr>
              <p:cNvSpPr/>
              <p:nvPr/>
            </p:nvSpPr>
            <p:spPr>
              <a:xfrm>
                <a:off x="3319052" y="3864806"/>
                <a:ext cx="167418" cy="36359"/>
              </a:xfrm>
              <a:prstGeom prst="roundRect">
                <a:avLst>
                  <a:gd name="adj" fmla="val 50000"/>
                </a:avLst>
              </a:prstGeom>
              <a:solidFill>
                <a:srgbClr val="2A3E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</p:grpSp>
      <p:sp>
        <p:nvSpPr>
          <p:cNvPr id="36" name="Rounded Rectangle 12">
            <a:extLst>
              <a:ext uri="{FF2B5EF4-FFF2-40B4-BE49-F238E27FC236}">
                <a16:creationId xmlns:a16="http://schemas.microsoft.com/office/drawing/2014/main" id="{82D0F2CD-4F10-4DB0-8898-1D0DDC8D6D11}"/>
              </a:ext>
            </a:extLst>
          </p:cNvPr>
          <p:cNvSpPr/>
          <p:nvPr/>
        </p:nvSpPr>
        <p:spPr>
          <a:xfrm rot="2700000">
            <a:off x="9192966" y="2100129"/>
            <a:ext cx="739302" cy="73930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77800" dist="1524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34F5DC7-DFE7-48EA-A2B2-3DC48EB5AC31}"/>
              </a:ext>
            </a:extLst>
          </p:cNvPr>
          <p:cNvGrpSpPr/>
          <p:nvPr/>
        </p:nvGrpSpPr>
        <p:grpSpPr>
          <a:xfrm>
            <a:off x="9053349" y="3333703"/>
            <a:ext cx="2167349" cy="1801582"/>
            <a:chOff x="3319052" y="3503532"/>
            <a:chExt cx="2167349" cy="1801582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3C7C77E-DF86-4EEE-96F0-E48C9F3E335A}"/>
                </a:ext>
              </a:extLst>
            </p:cNvPr>
            <p:cNvSpPr txBox="1"/>
            <p:nvPr/>
          </p:nvSpPr>
          <p:spPr>
            <a:xfrm>
              <a:off x="3319053" y="3503532"/>
              <a:ext cx="21673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713D423-8A6D-46CD-83A5-946342C5729F}"/>
                </a:ext>
              </a:extLst>
            </p:cNvPr>
            <p:cNvSpPr/>
            <p:nvPr/>
          </p:nvSpPr>
          <p:spPr>
            <a:xfrm>
              <a:off x="3319053" y="4012452"/>
              <a:ext cx="2167348" cy="129266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Lorem ipsum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dol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sit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se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do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eiusmod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tempor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incididun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ut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labore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 et dolore magna </a:t>
              </a:r>
              <a:r>
                <a:rPr lang="en-ID" sz="1400" dirty="0" err="1">
                  <a:solidFill>
                    <a:schemeClr val="bg1"/>
                  </a:solidFill>
                  <a:latin typeface="+mj-lt"/>
                </a:rPr>
                <a:t>aliqua</a:t>
              </a:r>
              <a:r>
                <a:rPr lang="en-ID" sz="1400" dirty="0">
                  <a:solidFill>
                    <a:schemeClr val="bg1"/>
                  </a:solidFill>
                  <a:latin typeface="+mj-lt"/>
                </a:rPr>
                <a:t>. </a:t>
              </a: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D9B573A-FA7B-4407-9D97-6F9CD89A4A94}"/>
                </a:ext>
              </a:extLst>
            </p:cNvPr>
            <p:cNvGrpSpPr/>
            <p:nvPr/>
          </p:nvGrpSpPr>
          <p:grpSpPr>
            <a:xfrm>
              <a:off x="3319052" y="3847534"/>
              <a:ext cx="2167348" cy="36359"/>
              <a:chOff x="3319052" y="3864806"/>
              <a:chExt cx="2167348" cy="36359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D3A1907-FC86-4200-AFD6-BC21616F90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19052" y="3882341"/>
                <a:ext cx="2167348" cy="0"/>
              </a:xfrm>
              <a:prstGeom prst="line">
                <a:avLst/>
              </a:prstGeom>
              <a:ln>
                <a:solidFill>
                  <a:srgbClr val="30574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F5F7D711-32CF-4FB4-95B1-48D920CEE610}"/>
                  </a:ext>
                </a:extLst>
              </p:cNvPr>
              <p:cNvSpPr/>
              <p:nvPr/>
            </p:nvSpPr>
            <p:spPr>
              <a:xfrm>
                <a:off x="3319052" y="3864806"/>
                <a:ext cx="167418" cy="36359"/>
              </a:xfrm>
              <a:prstGeom prst="roundRect">
                <a:avLst>
                  <a:gd name="adj" fmla="val 50000"/>
                </a:avLst>
              </a:prstGeom>
              <a:solidFill>
                <a:srgbClr val="2A3E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96840D8-63A0-4A82-9070-50F6F2E5A7A4}"/>
              </a:ext>
            </a:extLst>
          </p:cNvPr>
          <p:cNvGrpSpPr/>
          <p:nvPr/>
        </p:nvGrpSpPr>
        <p:grpSpPr>
          <a:xfrm>
            <a:off x="2514264" y="2165226"/>
            <a:ext cx="506378" cy="506378"/>
            <a:chOff x="2514264" y="2165226"/>
            <a:chExt cx="506378" cy="506378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57BCB88-7776-4F92-95F7-826B484D1602}"/>
                </a:ext>
              </a:extLst>
            </p:cNvPr>
            <p:cNvSpPr/>
            <p:nvPr/>
          </p:nvSpPr>
          <p:spPr>
            <a:xfrm>
              <a:off x="2514264" y="2165226"/>
              <a:ext cx="506378" cy="506378"/>
            </a:xfrm>
            <a:prstGeom prst="ellipse">
              <a:avLst/>
            </a:prstGeom>
            <a:solidFill>
              <a:srgbClr val="2A3E33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C14C28E7-1A41-4286-91DF-F9DF5D35E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266" y="2307818"/>
              <a:ext cx="236375" cy="221195"/>
            </a:xfrm>
            <a:custGeom>
              <a:avLst/>
              <a:gdLst>
                <a:gd name="T0" fmla="*/ 6 w 92"/>
                <a:gd name="T1" fmla="*/ 35 h 86"/>
                <a:gd name="T2" fmla="*/ 60 w 92"/>
                <a:gd name="T3" fmla="*/ 35 h 86"/>
                <a:gd name="T4" fmla="*/ 39 w 92"/>
                <a:gd name="T5" fmla="*/ 15 h 86"/>
                <a:gd name="T6" fmla="*/ 40 w 92"/>
                <a:gd name="T7" fmla="*/ 3 h 86"/>
                <a:gd name="T8" fmla="*/ 51 w 92"/>
                <a:gd name="T9" fmla="*/ 3 h 86"/>
                <a:gd name="T10" fmla="*/ 92 w 92"/>
                <a:gd name="T11" fmla="*/ 43 h 86"/>
                <a:gd name="T12" fmla="*/ 52 w 92"/>
                <a:gd name="T13" fmla="*/ 83 h 86"/>
                <a:gd name="T14" fmla="*/ 40 w 92"/>
                <a:gd name="T15" fmla="*/ 83 h 86"/>
                <a:gd name="T16" fmla="*/ 40 w 92"/>
                <a:gd name="T17" fmla="*/ 71 h 86"/>
                <a:gd name="T18" fmla="*/ 60 w 92"/>
                <a:gd name="T19" fmla="*/ 51 h 86"/>
                <a:gd name="T20" fmla="*/ 6 w 92"/>
                <a:gd name="T21" fmla="*/ 51 h 86"/>
                <a:gd name="T22" fmla="*/ 0 w 92"/>
                <a:gd name="T23" fmla="*/ 43 h 86"/>
                <a:gd name="T24" fmla="*/ 6 w 92"/>
                <a:gd name="T25" fmla="*/ 3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86">
                  <a:moveTo>
                    <a:pt x="6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6" y="12"/>
                    <a:pt x="36" y="6"/>
                    <a:pt x="40" y="3"/>
                  </a:cubicBezTo>
                  <a:cubicBezTo>
                    <a:pt x="43" y="0"/>
                    <a:pt x="48" y="0"/>
                    <a:pt x="51" y="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49" y="86"/>
                    <a:pt x="44" y="86"/>
                    <a:pt x="40" y="83"/>
                  </a:cubicBezTo>
                  <a:cubicBezTo>
                    <a:pt x="37" y="80"/>
                    <a:pt x="37" y="74"/>
                    <a:pt x="40" y="7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7"/>
                    <a:pt x="0" y="43"/>
                  </a:cubicBezTo>
                  <a:cubicBezTo>
                    <a:pt x="0" y="39"/>
                    <a:pt x="2" y="35"/>
                    <a:pt x="6" y="35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06AF309-9219-4B15-8608-AD9A0ED2972B}"/>
              </a:ext>
            </a:extLst>
          </p:cNvPr>
          <p:cNvGrpSpPr/>
          <p:nvPr/>
        </p:nvGrpSpPr>
        <p:grpSpPr>
          <a:xfrm>
            <a:off x="5268404" y="2165226"/>
            <a:ext cx="506378" cy="506378"/>
            <a:chOff x="2514264" y="2165226"/>
            <a:chExt cx="506378" cy="506378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CA4A409-C364-452B-BBA6-0AC91DD5939E}"/>
                </a:ext>
              </a:extLst>
            </p:cNvPr>
            <p:cNvSpPr/>
            <p:nvPr/>
          </p:nvSpPr>
          <p:spPr>
            <a:xfrm>
              <a:off x="2514264" y="2165226"/>
              <a:ext cx="506378" cy="506378"/>
            </a:xfrm>
            <a:prstGeom prst="ellipse">
              <a:avLst/>
            </a:prstGeom>
            <a:solidFill>
              <a:srgbClr val="2A3E33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0602B486-D38C-4A97-8DCB-D1E213260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266" y="2307818"/>
              <a:ext cx="236375" cy="221195"/>
            </a:xfrm>
            <a:custGeom>
              <a:avLst/>
              <a:gdLst>
                <a:gd name="T0" fmla="*/ 6 w 92"/>
                <a:gd name="T1" fmla="*/ 35 h 86"/>
                <a:gd name="T2" fmla="*/ 60 w 92"/>
                <a:gd name="T3" fmla="*/ 35 h 86"/>
                <a:gd name="T4" fmla="*/ 39 w 92"/>
                <a:gd name="T5" fmla="*/ 15 h 86"/>
                <a:gd name="T6" fmla="*/ 40 w 92"/>
                <a:gd name="T7" fmla="*/ 3 h 86"/>
                <a:gd name="T8" fmla="*/ 51 w 92"/>
                <a:gd name="T9" fmla="*/ 3 h 86"/>
                <a:gd name="T10" fmla="*/ 92 w 92"/>
                <a:gd name="T11" fmla="*/ 43 h 86"/>
                <a:gd name="T12" fmla="*/ 52 w 92"/>
                <a:gd name="T13" fmla="*/ 83 h 86"/>
                <a:gd name="T14" fmla="*/ 40 w 92"/>
                <a:gd name="T15" fmla="*/ 83 h 86"/>
                <a:gd name="T16" fmla="*/ 40 w 92"/>
                <a:gd name="T17" fmla="*/ 71 h 86"/>
                <a:gd name="T18" fmla="*/ 60 w 92"/>
                <a:gd name="T19" fmla="*/ 51 h 86"/>
                <a:gd name="T20" fmla="*/ 6 w 92"/>
                <a:gd name="T21" fmla="*/ 51 h 86"/>
                <a:gd name="T22" fmla="*/ 0 w 92"/>
                <a:gd name="T23" fmla="*/ 43 h 86"/>
                <a:gd name="T24" fmla="*/ 6 w 92"/>
                <a:gd name="T25" fmla="*/ 3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86">
                  <a:moveTo>
                    <a:pt x="6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6" y="12"/>
                    <a:pt x="36" y="6"/>
                    <a:pt x="40" y="3"/>
                  </a:cubicBezTo>
                  <a:cubicBezTo>
                    <a:pt x="43" y="0"/>
                    <a:pt x="48" y="0"/>
                    <a:pt x="51" y="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49" y="86"/>
                    <a:pt x="44" y="86"/>
                    <a:pt x="40" y="83"/>
                  </a:cubicBezTo>
                  <a:cubicBezTo>
                    <a:pt x="37" y="80"/>
                    <a:pt x="37" y="74"/>
                    <a:pt x="40" y="7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7"/>
                    <a:pt x="0" y="43"/>
                  </a:cubicBezTo>
                  <a:cubicBezTo>
                    <a:pt x="0" y="39"/>
                    <a:pt x="2" y="35"/>
                    <a:pt x="6" y="35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5A789A2-3494-4882-8BA1-E3EDAA1F5F6A}"/>
              </a:ext>
            </a:extLst>
          </p:cNvPr>
          <p:cNvGrpSpPr/>
          <p:nvPr/>
        </p:nvGrpSpPr>
        <p:grpSpPr>
          <a:xfrm>
            <a:off x="7962420" y="2165226"/>
            <a:ext cx="506378" cy="506378"/>
            <a:chOff x="2514264" y="2165226"/>
            <a:chExt cx="506378" cy="506378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718D27A6-B554-47E3-B736-63698CE3766F}"/>
                </a:ext>
              </a:extLst>
            </p:cNvPr>
            <p:cNvSpPr/>
            <p:nvPr/>
          </p:nvSpPr>
          <p:spPr>
            <a:xfrm>
              <a:off x="2514264" y="2165226"/>
              <a:ext cx="506378" cy="506378"/>
            </a:xfrm>
            <a:prstGeom prst="ellipse">
              <a:avLst/>
            </a:prstGeom>
            <a:solidFill>
              <a:srgbClr val="2A3E33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801E2152-98A0-45AA-8E60-EE76EDBE1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266" y="2307818"/>
              <a:ext cx="236375" cy="221195"/>
            </a:xfrm>
            <a:custGeom>
              <a:avLst/>
              <a:gdLst>
                <a:gd name="T0" fmla="*/ 6 w 92"/>
                <a:gd name="T1" fmla="*/ 35 h 86"/>
                <a:gd name="T2" fmla="*/ 60 w 92"/>
                <a:gd name="T3" fmla="*/ 35 h 86"/>
                <a:gd name="T4" fmla="*/ 39 w 92"/>
                <a:gd name="T5" fmla="*/ 15 h 86"/>
                <a:gd name="T6" fmla="*/ 40 w 92"/>
                <a:gd name="T7" fmla="*/ 3 h 86"/>
                <a:gd name="T8" fmla="*/ 51 w 92"/>
                <a:gd name="T9" fmla="*/ 3 h 86"/>
                <a:gd name="T10" fmla="*/ 92 w 92"/>
                <a:gd name="T11" fmla="*/ 43 h 86"/>
                <a:gd name="T12" fmla="*/ 52 w 92"/>
                <a:gd name="T13" fmla="*/ 83 h 86"/>
                <a:gd name="T14" fmla="*/ 40 w 92"/>
                <a:gd name="T15" fmla="*/ 83 h 86"/>
                <a:gd name="T16" fmla="*/ 40 w 92"/>
                <a:gd name="T17" fmla="*/ 71 h 86"/>
                <a:gd name="T18" fmla="*/ 60 w 92"/>
                <a:gd name="T19" fmla="*/ 51 h 86"/>
                <a:gd name="T20" fmla="*/ 6 w 92"/>
                <a:gd name="T21" fmla="*/ 51 h 86"/>
                <a:gd name="T22" fmla="*/ 0 w 92"/>
                <a:gd name="T23" fmla="*/ 43 h 86"/>
                <a:gd name="T24" fmla="*/ 6 w 92"/>
                <a:gd name="T25" fmla="*/ 3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86">
                  <a:moveTo>
                    <a:pt x="6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6" y="12"/>
                    <a:pt x="36" y="6"/>
                    <a:pt x="40" y="3"/>
                  </a:cubicBezTo>
                  <a:cubicBezTo>
                    <a:pt x="43" y="0"/>
                    <a:pt x="48" y="0"/>
                    <a:pt x="51" y="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49" y="86"/>
                    <a:pt x="44" y="86"/>
                    <a:pt x="40" y="83"/>
                  </a:cubicBezTo>
                  <a:cubicBezTo>
                    <a:pt x="37" y="80"/>
                    <a:pt x="37" y="74"/>
                    <a:pt x="40" y="7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7"/>
                    <a:pt x="0" y="43"/>
                  </a:cubicBezTo>
                  <a:cubicBezTo>
                    <a:pt x="0" y="39"/>
                    <a:pt x="2" y="35"/>
                    <a:pt x="6" y="35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FC29953-792A-480D-B052-9300408F7966}"/>
              </a:ext>
            </a:extLst>
          </p:cNvPr>
          <p:cNvGrpSpPr/>
          <p:nvPr/>
        </p:nvGrpSpPr>
        <p:grpSpPr>
          <a:xfrm>
            <a:off x="4011073" y="2306268"/>
            <a:ext cx="327025" cy="327025"/>
            <a:chOff x="4125913" y="2552700"/>
            <a:chExt cx="327025" cy="327025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0D0DA2C4-7CA7-4B1C-ABB4-9A2999BCF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550" y="2663825"/>
              <a:ext cx="193675" cy="195263"/>
            </a:xfrm>
            <a:custGeom>
              <a:avLst/>
              <a:gdLst>
                <a:gd name="T0" fmla="*/ 33 w 860"/>
                <a:gd name="T1" fmla="*/ 860 h 860"/>
                <a:gd name="T2" fmla="*/ 33 w 860"/>
                <a:gd name="T3" fmla="*/ 860 h 860"/>
                <a:gd name="T4" fmla="*/ 27 w 860"/>
                <a:gd name="T5" fmla="*/ 859 h 860"/>
                <a:gd name="T6" fmla="*/ 21 w 860"/>
                <a:gd name="T7" fmla="*/ 857 h 860"/>
                <a:gd name="T8" fmla="*/ 16 w 860"/>
                <a:gd name="T9" fmla="*/ 854 h 860"/>
                <a:gd name="T10" fmla="*/ 11 w 860"/>
                <a:gd name="T11" fmla="*/ 850 h 860"/>
                <a:gd name="T12" fmla="*/ 11 w 860"/>
                <a:gd name="T13" fmla="*/ 850 h 860"/>
                <a:gd name="T14" fmla="*/ 5 w 860"/>
                <a:gd name="T15" fmla="*/ 845 h 860"/>
                <a:gd name="T16" fmla="*/ 3 w 860"/>
                <a:gd name="T17" fmla="*/ 840 h 860"/>
                <a:gd name="T18" fmla="*/ 1 w 860"/>
                <a:gd name="T19" fmla="*/ 833 h 860"/>
                <a:gd name="T20" fmla="*/ 0 w 860"/>
                <a:gd name="T21" fmla="*/ 827 h 860"/>
                <a:gd name="T22" fmla="*/ 1 w 860"/>
                <a:gd name="T23" fmla="*/ 821 h 860"/>
                <a:gd name="T24" fmla="*/ 3 w 860"/>
                <a:gd name="T25" fmla="*/ 815 h 860"/>
                <a:gd name="T26" fmla="*/ 5 w 860"/>
                <a:gd name="T27" fmla="*/ 809 h 860"/>
                <a:gd name="T28" fmla="*/ 11 w 860"/>
                <a:gd name="T29" fmla="*/ 803 h 860"/>
                <a:gd name="T30" fmla="*/ 803 w 860"/>
                <a:gd name="T31" fmla="*/ 10 h 860"/>
                <a:gd name="T32" fmla="*/ 803 w 860"/>
                <a:gd name="T33" fmla="*/ 10 h 860"/>
                <a:gd name="T34" fmla="*/ 809 w 860"/>
                <a:gd name="T35" fmla="*/ 6 h 860"/>
                <a:gd name="T36" fmla="*/ 815 w 860"/>
                <a:gd name="T37" fmla="*/ 2 h 860"/>
                <a:gd name="T38" fmla="*/ 821 w 860"/>
                <a:gd name="T39" fmla="*/ 1 h 860"/>
                <a:gd name="T40" fmla="*/ 827 w 860"/>
                <a:gd name="T41" fmla="*/ 0 h 860"/>
                <a:gd name="T42" fmla="*/ 833 w 860"/>
                <a:gd name="T43" fmla="*/ 1 h 860"/>
                <a:gd name="T44" fmla="*/ 840 w 860"/>
                <a:gd name="T45" fmla="*/ 2 h 860"/>
                <a:gd name="T46" fmla="*/ 845 w 860"/>
                <a:gd name="T47" fmla="*/ 6 h 860"/>
                <a:gd name="T48" fmla="*/ 850 w 860"/>
                <a:gd name="T49" fmla="*/ 10 h 860"/>
                <a:gd name="T50" fmla="*/ 850 w 860"/>
                <a:gd name="T51" fmla="*/ 10 h 860"/>
                <a:gd name="T52" fmla="*/ 855 w 860"/>
                <a:gd name="T53" fmla="*/ 15 h 860"/>
                <a:gd name="T54" fmla="*/ 857 w 860"/>
                <a:gd name="T55" fmla="*/ 21 h 860"/>
                <a:gd name="T56" fmla="*/ 859 w 860"/>
                <a:gd name="T57" fmla="*/ 27 h 860"/>
                <a:gd name="T58" fmla="*/ 860 w 860"/>
                <a:gd name="T59" fmla="*/ 34 h 860"/>
                <a:gd name="T60" fmla="*/ 859 w 860"/>
                <a:gd name="T61" fmla="*/ 40 h 860"/>
                <a:gd name="T62" fmla="*/ 857 w 860"/>
                <a:gd name="T63" fmla="*/ 46 h 860"/>
                <a:gd name="T64" fmla="*/ 855 w 860"/>
                <a:gd name="T65" fmla="*/ 52 h 860"/>
                <a:gd name="T66" fmla="*/ 850 w 860"/>
                <a:gd name="T67" fmla="*/ 57 h 860"/>
                <a:gd name="T68" fmla="*/ 57 w 860"/>
                <a:gd name="T69" fmla="*/ 850 h 860"/>
                <a:gd name="T70" fmla="*/ 57 w 860"/>
                <a:gd name="T71" fmla="*/ 850 h 860"/>
                <a:gd name="T72" fmla="*/ 52 w 860"/>
                <a:gd name="T73" fmla="*/ 854 h 860"/>
                <a:gd name="T74" fmla="*/ 46 w 860"/>
                <a:gd name="T75" fmla="*/ 857 h 860"/>
                <a:gd name="T76" fmla="*/ 40 w 860"/>
                <a:gd name="T77" fmla="*/ 859 h 860"/>
                <a:gd name="T78" fmla="*/ 33 w 860"/>
                <a:gd name="T79" fmla="*/ 860 h 860"/>
                <a:gd name="T80" fmla="*/ 33 w 860"/>
                <a:gd name="T81" fmla="*/ 860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0" h="860">
                  <a:moveTo>
                    <a:pt x="33" y="860"/>
                  </a:moveTo>
                  <a:lnTo>
                    <a:pt x="33" y="860"/>
                  </a:lnTo>
                  <a:lnTo>
                    <a:pt x="27" y="859"/>
                  </a:lnTo>
                  <a:lnTo>
                    <a:pt x="21" y="857"/>
                  </a:lnTo>
                  <a:lnTo>
                    <a:pt x="16" y="854"/>
                  </a:lnTo>
                  <a:lnTo>
                    <a:pt x="11" y="850"/>
                  </a:lnTo>
                  <a:lnTo>
                    <a:pt x="11" y="850"/>
                  </a:lnTo>
                  <a:lnTo>
                    <a:pt x="5" y="845"/>
                  </a:lnTo>
                  <a:lnTo>
                    <a:pt x="3" y="840"/>
                  </a:lnTo>
                  <a:lnTo>
                    <a:pt x="1" y="833"/>
                  </a:lnTo>
                  <a:lnTo>
                    <a:pt x="0" y="827"/>
                  </a:lnTo>
                  <a:lnTo>
                    <a:pt x="1" y="821"/>
                  </a:lnTo>
                  <a:lnTo>
                    <a:pt x="3" y="815"/>
                  </a:lnTo>
                  <a:lnTo>
                    <a:pt x="5" y="809"/>
                  </a:lnTo>
                  <a:lnTo>
                    <a:pt x="11" y="803"/>
                  </a:lnTo>
                  <a:lnTo>
                    <a:pt x="803" y="10"/>
                  </a:lnTo>
                  <a:lnTo>
                    <a:pt x="803" y="10"/>
                  </a:lnTo>
                  <a:lnTo>
                    <a:pt x="809" y="6"/>
                  </a:lnTo>
                  <a:lnTo>
                    <a:pt x="815" y="2"/>
                  </a:lnTo>
                  <a:lnTo>
                    <a:pt x="821" y="1"/>
                  </a:lnTo>
                  <a:lnTo>
                    <a:pt x="827" y="0"/>
                  </a:lnTo>
                  <a:lnTo>
                    <a:pt x="833" y="1"/>
                  </a:lnTo>
                  <a:lnTo>
                    <a:pt x="840" y="2"/>
                  </a:lnTo>
                  <a:lnTo>
                    <a:pt x="845" y="6"/>
                  </a:lnTo>
                  <a:lnTo>
                    <a:pt x="850" y="10"/>
                  </a:lnTo>
                  <a:lnTo>
                    <a:pt x="850" y="10"/>
                  </a:lnTo>
                  <a:lnTo>
                    <a:pt x="855" y="15"/>
                  </a:lnTo>
                  <a:lnTo>
                    <a:pt x="857" y="21"/>
                  </a:lnTo>
                  <a:lnTo>
                    <a:pt x="859" y="27"/>
                  </a:lnTo>
                  <a:lnTo>
                    <a:pt x="860" y="34"/>
                  </a:lnTo>
                  <a:lnTo>
                    <a:pt x="859" y="40"/>
                  </a:lnTo>
                  <a:lnTo>
                    <a:pt x="857" y="46"/>
                  </a:lnTo>
                  <a:lnTo>
                    <a:pt x="855" y="52"/>
                  </a:lnTo>
                  <a:lnTo>
                    <a:pt x="850" y="57"/>
                  </a:lnTo>
                  <a:lnTo>
                    <a:pt x="57" y="850"/>
                  </a:lnTo>
                  <a:lnTo>
                    <a:pt x="57" y="850"/>
                  </a:lnTo>
                  <a:lnTo>
                    <a:pt x="52" y="854"/>
                  </a:lnTo>
                  <a:lnTo>
                    <a:pt x="46" y="857"/>
                  </a:lnTo>
                  <a:lnTo>
                    <a:pt x="40" y="859"/>
                  </a:lnTo>
                  <a:lnTo>
                    <a:pt x="33" y="860"/>
                  </a:lnTo>
                  <a:lnTo>
                    <a:pt x="33" y="860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8C7D51D5-237E-4D89-B9AE-19B44A96B6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5913" y="2552700"/>
              <a:ext cx="327025" cy="327025"/>
            </a:xfrm>
            <a:custGeom>
              <a:avLst/>
              <a:gdLst>
                <a:gd name="T0" fmla="*/ 509 w 1444"/>
                <a:gd name="T1" fmla="*/ 1438 h 1443"/>
                <a:gd name="T2" fmla="*/ 379 w 1444"/>
                <a:gd name="T3" fmla="*/ 1406 h 1443"/>
                <a:gd name="T4" fmla="*/ 244 w 1444"/>
                <a:gd name="T5" fmla="*/ 1345 h 1443"/>
                <a:gd name="T6" fmla="*/ 153 w 1444"/>
                <a:gd name="T7" fmla="*/ 1289 h 1443"/>
                <a:gd name="T8" fmla="*/ 75 w 1444"/>
                <a:gd name="T9" fmla="*/ 1153 h 1443"/>
                <a:gd name="T10" fmla="*/ 20 w 1444"/>
                <a:gd name="T11" fmla="*/ 1007 h 1443"/>
                <a:gd name="T12" fmla="*/ 2 w 1444"/>
                <a:gd name="T13" fmla="*/ 905 h 1443"/>
                <a:gd name="T14" fmla="*/ 2 w 1444"/>
                <a:gd name="T15" fmla="*/ 808 h 1443"/>
                <a:gd name="T16" fmla="*/ 21 w 1444"/>
                <a:gd name="T17" fmla="*/ 715 h 1443"/>
                <a:gd name="T18" fmla="*/ 48 w 1444"/>
                <a:gd name="T19" fmla="*/ 643 h 1443"/>
                <a:gd name="T20" fmla="*/ 119 w 1444"/>
                <a:gd name="T21" fmla="*/ 530 h 1443"/>
                <a:gd name="T22" fmla="*/ 216 w 1444"/>
                <a:gd name="T23" fmla="*/ 429 h 1443"/>
                <a:gd name="T24" fmla="*/ 331 w 1444"/>
                <a:gd name="T25" fmla="*/ 342 h 1443"/>
                <a:gd name="T26" fmla="*/ 517 w 1444"/>
                <a:gd name="T27" fmla="*/ 240 h 1443"/>
                <a:gd name="T28" fmla="*/ 801 w 1444"/>
                <a:gd name="T29" fmla="*/ 130 h 1443"/>
                <a:gd name="T30" fmla="*/ 1072 w 1444"/>
                <a:gd name="T31" fmla="*/ 58 h 1443"/>
                <a:gd name="T32" fmla="*/ 1387 w 1444"/>
                <a:gd name="T33" fmla="*/ 2 h 1443"/>
                <a:gd name="T34" fmla="*/ 1428 w 1444"/>
                <a:gd name="T35" fmla="*/ 5 h 1443"/>
                <a:gd name="T36" fmla="*/ 1444 w 1444"/>
                <a:gd name="T37" fmla="*/ 29 h 1443"/>
                <a:gd name="T38" fmla="*/ 1426 w 1444"/>
                <a:gd name="T39" fmla="*/ 158 h 1443"/>
                <a:gd name="T40" fmla="*/ 1361 w 1444"/>
                <a:gd name="T41" fmla="*/ 475 h 1443"/>
                <a:gd name="T42" fmla="*/ 1274 w 1444"/>
                <a:gd name="T43" fmla="*/ 756 h 1443"/>
                <a:gd name="T44" fmla="*/ 1148 w 1444"/>
                <a:gd name="T45" fmla="*/ 1036 h 1443"/>
                <a:gd name="T46" fmla="*/ 1068 w 1444"/>
                <a:gd name="T47" fmla="*/ 1161 h 1443"/>
                <a:gd name="T48" fmla="*/ 976 w 1444"/>
                <a:gd name="T49" fmla="*/ 1268 h 1443"/>
                <a:gd name="T50" fmla="*/ 871 w 1444"/>
                <a:gd name="T51" fmla="*/ 1355 h 1443"/>
                <a:gd name="T52" fmla="*/ 774 w 1444"/>
                <a:gd name="T53" fmla="*/ 1406 h 1443"/>
                <a:gd name="T54" fmla="*/ 641 w 1444"/>
                <a:gd name="T55" fmla="*/ 1440 h 1443"/>
                <a:gd name="T56" fmla="*/ 201 w 1444"/>
                <a:gd name="T57" fmla="*/ 1242 h 1443"/>
                <a:gd name="T58" fmla="*/ 396 w 1444"/>
                <a:gd name="T59" fmla="*/ 1341 h 1443"/>
                <a:gd name="T60" fmla="*/ 558 w 1444"/>
                <a:gd name="T61" fmla="*/ 1376 h 1443"/>
                <a:gd name="T62" fmla="*/ 644 w 1444"/>
                <a:gd name="T63" fmla="*/ 1373 h 1443"/>
                <a:gd name="T64" fmla="*/ 726 w 1444"/>
                <a:gd name="T65" fmla="*/ 1354 h 1443"/>
                <a:gd name="T66" fmla="*/ 792 w 1444"/>
                <a:gd name="T67" fmla="*/ 1325 h 1443"/>
                <a:gd name="T68" fmla="*/ 885 w 1444"/>
                <a:gd name="T69" fmla="*/ 1262 h 1443"/>
                <a:gd name="T70" fmla="*/ 968 w 1444"/>
                <a:gd name="T71" fmla="*/ 1179 h 1443"/>
                <a:gd name="T72" fmla="*/ 1069 w 1444"/>
                <a:gd name="T73" fmla="*/ 1039 h 1443"/>
                <a:gd name="T74" fmla="*/ 1184 w 1444"/>
                <a:gd name="T75" fmla="*/ 803 h 1443"/>
                <a:gd name="T76" fmla="*/ 1269 w 1444"/>
                <a:gd name="T77" fmla="*/ 554 h 1443"/>
                <a:gd name="T78" fmla="*/ 1344 w 1444"/>
                <a:gd name="T79" fmla="*/ 245 h 1443"/>
                <a:gd name="T80" fmla="*/ 1327 w 1444"/>
                <a:gd name="T81" fmla="*/ 77 h 1443"/>
                <a:gd name="T82" fmla="*/ 984 w 1444"/>
                <a:gd name="T83" fmla="*/ 149 h 1443"/>
                <a:gd name="T84" fmla="*/ 740 w 1444"/>
                <a:gd name="T85" fmla="*/ 222 h 1443"/>
                <a:gd name="T86" fmla="*/ 496 w 1444"/>
                <a:gd name="T87" fmla="*/ 325 h 1443"/>
                <a:gd name="T88" fmla="*/ 301 w 1444"/>
                <a:gd name="T89" fmla="*/ 445 h 1443"/>
                <a:gd name="T90" fmla="*/ 212 w 1444"/>
                <a:gd name="T91" fmla="*/ 524 h 1443"/>
                <a:gd name="T92" fmla="*/ 141 w 1444"/>
                <a:gd name="T93" fmla="*/ 613 h 1443"/>
                <a:gd name="T94" fmla="*/ 102 w 1444"/>
                <a:gd name="T95" fmla="*/ 687 h 1443"/>
                <a:gd name="T96" fmla="*/ 76 w 1444"/>
                <a:gd name="T97" fmla="*/ 766 h 1443"/>
                <a:gd name="T98" fmla="*/ 67 w 1444"/>
                <a:gd name="T99" fmla="*/ 850 h 1443"/>
                <a:gd name="T100" fmla="*/ 80 w 1444"/>
                <a:gd name="T101" fmla="*/ 974 h 1443"/>
                <a:gd name="T102" fmla="*/ 153 w 1444"/>
                <a:gd name="T103" fmla="*/ 116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4" h="1443">
                  <a:moveTo>
                    <a:pt x="585" y="1443"/>
                  </a:moveTo>
                  <a:lnTo>
                    <a:pt x="585" y="1443"/>
                  </a:lnTo>
                  <a:lnTo>
                    <a:pt x="560" y="1442"/>
                  </a:lnTo>
                  <a:lnTo>
                    <a:pt x="535" y="1441"/>
                  </a:lnTo>
                  <a:lnTo>
                    <a:pt x="509" y="1438"/>
                  </a:lnTo>
                  <a:lnTo>
                    <a:pt x="485" y="1434"/>
                  </a:lnTo>
                  <a:lnTo>
                    <a:pt x="459" y="1429"/>
                  </a:lnTo>
                  <a:lnTo>
                    <a:pt x="432" y="1423"/>
                  </a:lnTo>
                  <a:lnTo>
                    <a:pt x="406" y="1414"/>
                  </a:lnTo>
                  <a:lnTo>
                    <a:pt x="379" y="1406"/>
                  </a:lnTo>
                  <a:lnTo>
                    <a:pt x="352" y="1396"/>
                  </a:lnTo>
                  <a:lnTo>
                    <a:pt x="325" y="1384"/>
                  </a:lnTo>
                  <a:lnTo>
                    <a:pt x="298" y="1373"/>
                  </a:lnTo>
                  <a:lnTo>
                    <a:pt x="270" y="1359"/>
                  </a:lnTo>
                  <a:lnTo>
                    <a:pt x="244" y="1345"/>
                  </a:lnTo>
                  <a:lnTo>
                    <a:pt x="216" y="1328"/>
                  </a:lnTo>
                  <a:lnTo>
                    <a:pt x="188" y="1312"/>
                  </a:lnTo>
                  <a:lnTo>
                    <a:pt x="159" y="1294"/>
                  </a:lnTo>
                  <a:lnTo>
                    <a:pt x="159" y="1294"/>
                  </a:lnTo>
                  <a:lnTo>
                    <a:pt x="153" y="1289"/>
                  </a:lnTo>
                  <a:lnTo>
                    <a:pt x="149" y="1284"/>
                  </a:lnTo>
                  <a:lnTo>
                    <a:pt x="149" y="1284"/>
                  </a:lnTo>
                  <a:lnTo>
                    <a:pt x="121" y="1240"/>
                  </a:lnTo>
                  <a:lnTo>
                    <a:pt x="97" y="1196"/>
                  </a:lnTo>
                  <a:lnTo>
                    <a:pt x="75" y="1153"/>
                  </a:lnTo>
                  <a:lnTo>
                    <a:pt x="55" y="1111"/>
                  </a:lnTo>
                  <a:lnTo>
                    <a:pt x="40" y="1069"/>
                  </a:lnTo>
                  <a:lnTo>
                    <a:pt x="32" y="1048"/>
                  </a:lnTo>
                  <a:lnTo>
                    <a:pt x="26" y="1027"/>
                  </a:lnTo>
                  <a:lnTo>
                    <a:pt x="20" y="1007"/>
                  </a:lnTo>
                  <a:lnTo>
                    <a:pt x="15" y="986"/>
                  </a:lnTo>
                  <a:lnTo>
                    <a:pt x="11" y="965"/>
                  </a:lnTo>
                  <a:lnTo>
                    <a:pt x="8" y="946"/>
                  </a:lnTo>
                  <a:lnTo>
                    <a:pt x="4" y="926"/>
                  </a:lnTo>
                  <a:lnTo>
                    <a:pt x="2" y="905"/>
                  </a:lnTo>
                  <a:lnTo>
                    <a:pt x="1" y="885"/>
                  </a:lnTo>
                  <a:lnTo>
                    <a:pt x="0" y="866"/>
                  </a:lnTo>
                  <a:lnTo>
                    <a:pt x="0" y="847"/>
                  </a:lnTo>
                  <a:lnTo>
                    <a:pt x="1" y="828"/>
                  </a:lnTo>
                  <a:lnTo>
                    <a:pt x="2" y="808"/>
                  </a:lnTo>
                  <a:lnTo>
                    <a:pt x="4" y="789"/>
                  </a:lnTo>
                  <a:lnTo>
                    <a:pt x="8" y="771"/>
                  </a:lnTo>
                  <a:lnTo>
                    <a:pt x="12" y="752"/>
                  </a:lnTo>
                  <a:lnTo>
                    <a:pt x="16" y="733"/>
                  </a:lnTo>
                  <a:lnTo>
                    <a:pt x="21" y="715"/>
                  </a:lnTo>
                  <a:lnTo>
                    <a:pt x="26" y="697"/>
                  </a:lnTo>
                  <a:lnTo>
                    <a:pt x="33" y="679"/>
                  </a:lnTo>
                  <a:lnTo>
                    <a:pt x="41" y="661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60" y="620"/>
                  </a:lnTo>
                  <a:lnTo>
                    <a:pt x="74" y="596"/>
                  </a:lnTo>
                  <a:lnTo>
                    <a:pt x="88" y="573"/>
                  </a:lnTo>
                  <a:lnTo>
                    <a:pt x="103" y="551"/>
                  </a:lnTo>
                  <a:lnTo>
                    <a:pt x="119" y="530"/>
                  </a:lnTo>
                  <a:lnTo>
                    <a:pt x="137" y="508"/>
                  </a:lnTo>
                  <a:lnTo>
                    <a:pt x="156" y="488"/>
                  </a:lnTo>
                  <a:lnTo>
                    <a:pt x="174" y="467"/>
                  </a:lnTo>
                  <a:lnTo>
                    <a:pt x="195" y="448"/>
                  </a:lnTo>
                  <a:lnTo>
                    <a:pt x="216" y="429"/>
                  </a:lnTo>
                  <a:lnTo>
                    <a:pt x="237" y="411"/>
                  </a:lnTo>
                  <a:lnTo>
                    <a:pt x="260" y="393"/>
                  </a:lnTo>
                  <a:lnTo>
                    <a:pt x="283" y="375"/>
                  </a:lnTo>
                  <a:lnTo>
                    <a:pt x="307" y="359"/>
                  </a:lnTo>
                  <a:lnTo>
                    <a:pt x="331" y="342"/>
                  </a:lnTo>
                  <a:lnTo>
                    <a:pt x="356" y="326"/>
                  </a:lnTo>
                  <a:lnTo>
                    <a:pt x="382" y="310"/>
                  </a:lnTo>
                  <a:lnTo>
                    <a:pt x="408" y="296"/>
                  </a:lnTo>
                  <a:lnTo>
                    <a:pt x="462" y="267"/>
                  </a:lnTo>
                  <a:lnTo>
                    <a:pt x="517" y="240"/>
                  </a:lnTo>
                  <a:lnTo>
                    <a:pt x="573" y="215"/>
                  </a:lnTo>
                  <a:lnTo>
                    <a:pt x="630" y="191"/>
                  </a:lnTo>
                  <a:lnTo>
                    <a:pt x="687" y="169"/>
                  </a:lnTo>
                  <a:lnTo>
                    <a:pt x="744" y="149"/>
                  </a:lnTo>
                  <a:lnTo>
                    <a:pt x="801" y="130"/>
                  </a:lnTo>
                  <a:lnTo>
                    <a:pt x="858" y="113"/>
                  </a:lnTo>
                  <a:lnTo>
                    <a:pt x="914" y="97"/>
                  </a:lnTo>
                  <a:lnTo>
                    <a:pt x="968" y="83"/>
                  </a:lnTo>
                  <a:lnTo>
                    <a:pt x="1022" y="70"/>
                  </a:lnTo>
                  <a:lnTo>
                    <a:pt x="1072" y="58"/>
                  </a:lnTo>
                  <a:lnTo>
                    <a:pt x="1121" y="47"/>
                  </a:lnTo>
                  <a:lnTo>
                    <a:pt x="1210" y="30"/>
                  </a:lnTo>
                  <a:lnTo>
                    <a:pt x="1286" y="17"/>
                  </a:lnTo>
                  <a:lnTo>
                    <a:pt x="1346" y="8"/>
                  </a:lnTo>
                  <a:lnTo>
                    <a:pt x="1387" y="2"/>
                  </a:lnTo>
                  <a:lnTo>
                    <a:pt x="1408" y="0"/>
                  </a:lnTo>
                  <a:lnTo>
                    <a:pt x="1408" y="0"/>
                  </a:lnTo>
                  <a:lnTo>
                    <a:pt x="1415" y="0"/>
                  </a:lnTo>
                  <a:lnTo>
                    <a:pt x="1422" y="2"/>
                  </a:lnTo>
                  <a:lnTo>
                    <a:pt x="1428" y="5"/>
                  </a:lnTo>
                  <a:lnTo>
                    <a:pt x="1435" y="9"/>
                  </a:lnTo>
                  <a:lnTo>
                    <a:pt x="1435" y="9"/>
                  </a:lnTo>
                  <a:lnTo>
                    <a:pt x="1439" y="15"/>
                  </a:lnTo>
                  <a:lnTo>
                    <a:pt x="1442" y="22"/>
                  </a:lnTo>
                  <a:lnTo>
                    <a:pt x="1444" y="29"/>
                  </a:lnTo>
                  <a:lnTo>
                    <a:pt x="1444" y="36"/>
                  </a:lnTo>
                  <a:lnTo>
                    <a:pt x="1444" y="36"/>
                  </a:lnTo>
                  <a:lnTo>
                    <a:pt x="1441" y="57"/>
                  </a:lnTo>
                  <a:lnTo>
                    <a:pt x="1436" y="98"/>
                  </a:lnTo>
                  <a:lnTo>
                    <a:pt x="1426" y="158"/>
                  </a:lnTo>
                  <a:lnTo>
                    <a:pt x="1414" y="234"/>
                  </a:lnTo>
                  <a:lnTo>
                    <a:pt x="1396" y="323"/>
                  </a:lnTo>
                  <a:lnTo>
                    <a:pt x="1386" y="371"/>
                  </a:lnTo>
                  <a:lnTo>
                    <a:pt x="1374" y="422"/>
                  </a:lnTo>
                  <a:lnTo>
                    <a:pt x="1361" y="475"/>
                  </a:lnTo>
                  <a:lnTo>
                    <a:pt x="1347" y="530"/>
                  </a:lnTo>
                  <a:lnTo>
                    <a:pt x="1330" y="585"/>
                  </a:lnTo>
                  <a:lnTo>
                    <a:pt x="1314" y="641"/>
                  </a:lnTo>
                  <a:lnTo>
                    <a:pt x="1295" y="699"/>
                  </a:lnTo>
                  <a:lnTo>
                    <a:pt x="1274" y="756"/>
                  </a:lnTo>
                  <a:lnTo>
                    <a:pt x="1253" y="814"/>
                  </a:lnTo>
                  <a:lnTo>
                    <a:pt x="1229" y="871"/>
                  </a:lnTo>
                  <a:lnTo>
                    <a:pt x="1204" y="927"/>
                  </a:lnTo>
                  <a:lnTo>
                    <a:pt x="1177" y="982"/>
                  </a:lnTo>
                  <a:lnTo>
                    <a:pt x="1148" y="1036"/>
                  </a:lnTo>
                  <a:lnTo>
                    <a:pt x="1134" y="1061"/>
                  </a:lnTo>
                  <a:lnTo>
                    <a:pt x="1118" y="1087"/>
                  </a:lnTo>
                  <a:lnTo>
                    <a:pt x="1101" y="1112"/>
                  </a:lnTo>
                  <a:lnTo>
                    <a:pt x="1085" y="1136"/>
                  </a:lnTo>
                  <a:lnTo>
                    <a:pt x="1068" y="1161"/>
                  </a:lnTo>
                  <a:lnTo>
                    <a:pt x="1051" y="1183"/>
                  </a:lnTo>
                  <a:lnTo>
                    <a:pt x="1033" y="1206"/>
                  </a:lnTo>
                  <a:lnTo>
                    <a:pt x="1015" y="1228"/>
                  </a:lnTo>
                  <a:lnTo>
                    <a:pt x="995" y="1249"/>
                  </a:lnTo>
                  <a:lnTo>
                    <a:pt x="976" y="1268"/>
                  </a:lnTo>
                  <a:lnTo>
                    <a:pt x="956" y="1288"/>
                  </a:lnTo>
                  <a:lnTo>
                    <a:pt x="935" y="1307"/>
                  </a:lnTo>
                  <a:lnTo>
                    <a:pt x="914" y="1324"/>
                  </a:lnTo>
                  <a:lnTo>
                    <a:pt x="892" y="1340"/>
                  </a:lnTo>
                  <a:lnTo>
                    <a:pt x="871" y="1355"/>
                  </a:lnTo>
                  <a:lnTo>
                    <a:pt x="848" y="1370"/>
                  </a:lnTo>
                  <a:lnTo>
                    <a:pt x="824" y="1383"/>
                  </a:lnTo>
                  <a:lnTo>
                    <a:pt x="800" y="1395"/>
                  </a:lnTo>
                  <a:lnTo>
                    <a:pt x="800" y="1395"/>
                  </a:lnTo>
                  <a:lnTo>
                    <a:pt x="774" y="1406"/>
                  </a:lnTo>
                  <a:lnTo>
                    <a:pt x="749" y="1416"/>
                  </a:lnTo>
                  <a:lnTo>
                    <a:pt x="723" y="1425"/>
                  </a:lnTo>
                  <a:lnTo>
                    <a:pt x="696" y="1431"/>
                  </a:lnTo>
                  <a:lnTo>
                    <a:pt x="669" y="1436"/>
                  </a:lnTo>
                  <a:lnTo>
                    <a:pt x="641" y="1440"/>
                  </a:lnTo>
                  <a:lnTo>
                    <a:pt x="613" y="1442"/>
                  </a:lnTo>
                  <a:lnTo>
                    <a:pt x="585" y="1443"/>
                  </a:lnTo>
                  <a:lnTo>
                    <a:pt x="585" y="1443"/>
                  </a:lnTo>
                  <a:close/>
                  <a:moveTo>
                    <a:pt x="201" y="1242"/>
                  </a:moveTo>
                  <a:lnTo>
                    <a:pt x="201" y="1242"/>
                  </a:lnTo>
                  <a:lnTo>
                    <a:pt x="241" y="1267"/>
                  </a:lnTo>
                  <a:lnTo>
                    <a:pt x="281" y="1289"/>
                  </a:lnTo>
                  <a:lnTo>
                    <a:pt x="319" y="1309"/>
                  </a:lnTo>
                  <a:lnTo>
                    <a:pt x="357" y="1326"/>
                  </a:lnTo>
                  <a:lnTo>
                    <a:pt x="396" y="1341"/>
                  </a:lnTo>
                  <a:lnTo>
                    <a:pt x="433" y="1353"/>
                  </a:lnTo>
                  <a:lnTo>
                    <a:pt x="469" y="1362"/>
                  </a:lnTo>
                  <a:lnTo>
                    <a:pt x="505" y="1370"/>
                  </a:lnTo>
                  <a:lnTo>
                    <a:pt x="541" y="1375"/>
                  </a:lnTo>
                  <a:lnTo>
                    <a:pt x="558" y="1376"/>
                  </a:lnTo>
                  <a:lnTo>
                    <a:pt x="576" y="1377"/>
                  </a:lnTo>
                  <a:lnTo>
                    <a:pt x="593" y="1377"/>
                  </a:lnTo>
                  <a:lnTo>
                    <a:pt x="610" y="1376"/>
                  </a:lnTo>
                  <a:lnTo>
                    <a:pt x="626" y="1375"/>
                  </a:lnTo>
                  <a:lnTo>
                    <a:pt x="644" y="1373"/>
                  </a:lnTo>
                  <a:lnTo>
                    <a:pt x="661" y="1371"/>
                  </a:lnTo>
                  <a:lnTo>
                    <a:pt x="677" y="1368"/>
                  </a:lnTo>
                  <a:lnTo>
                    <a:pt x="693" y="1364"/>
                  </a:lnTo>
                  <a:lnTo>
                    <a:pt x="709" y="1359"/>
                  </a:lnTo>
                  <a:lnTo>
                    <a:pt x="726" y="1354"/>
                  </a:lnTo>
                  <a:lnTo>
                    <a:pt x="741" y="1348"/>
                  </a:lnTo>
                  <a:lnTo>
                    <a:pt x="757" y="1342"/>
                  </a:lnTo>
                  <a:lnTo>
                    <a:pt x="772" y="1336"/>
                  </a:lnTo>
                  <a:lnTo>
                    <a:pt x="772" y="1336"/>
                  </a:lnTo>
                  <a:lnTo>
                    <a:pt x="792" y="1325"/>
                  </a:lnTo>
                  <a:lnTo>
                    <a:pt x="812" y="1315"/>
                  </a:lnTo>
                  <a:lnTo>
                    <a:pt x="830" y="1302"/>
                  </a:lnTo>
                  <a:lnTo>
                    <a:pt x="849" y="1290"/>
                  </a:lnTo>
                  <a:lnTo>
                    <a:pt x="868" y="1277"/>
                  </a:lnTo>
                  <a:lnTo>
                    <a:pt x="885" y="1262"/>
                  </a:lnTo>
                  <a:lnTo>
                    <a:pt x="903" y="1248"/>
                  </a:lnTo>
                  <a:lnTo>
                    <a:pt x="919" y="1231"/>
                  </a:lnTo>
                  <a:lnTo>
                    <a:pt x="936" y="1215"/>
                  </a:lnTo>
                  <a:lnTo>
                    <a:pt x="952" y="1198"/>
                  </a:lnTo>
                  <a:lnTo>
                    <a:pt x="968" y="1179"/>
                  </a:lnTo>
                  <a:lnTo>
                    <a:pt x="983" y="1161"/>
                  </a:lnTo>
                  <a:lnTo>
                    <a:pt x="999" y="1142"/>
                  </a:lnTo>
                  <a:lnTo>
                    <a:pt x="1013" y="1122"/>
                  </a:lnTo>
                  <a:lnTo>
                    <a:pt x="1042" y="1081"/>
                  </a:lnTo>
                  <a:lnTo>
                    <a:pt x="1069" y="1039"/>
                  </a:lnTo>
                  <a:lnTo>
                    <a:pt x="1095" y="993"/>
                  </a:lnTo>
                  <a:lnTo>
                    <a:pt x="1119" y="948"/>
                  </a:lnTo>
                  <a:lnTo>
                    <a:pt x="1142" y="900"/>
                  </a:lnTo>
                  <a:lnTo>
                    <a:pt x="1165" y="851"/>
                  </a:lnTo>
                  <a:lnTo>
                    <a:pt x="1184" y="803"/>
                  </a:lnTo>
                  <a:lnTo>
                    <a:pt x="1204" y="753"/>
                  </a:lnTo>
                  <a:lnTo>
                    <a:pt x="1221" y="703"/>
                  </a:lnTo>
                  <a:lnTo>
                    <a:pt x="1239" y="654"/>
                  </a:lnTo>
                  <a:lnTo>
                    <a:pt x="1255" y="604"/>
                  </a:lnTo>
                  <a:lnTo>
                    <a:pt x="1269" y="554"/>
                  </a:lnTo>
                  <a:lnTo>
                    <a:pt x="1283" y="507"/>
                  </a:lnTo>
                  <a:lnTo>
                    <a:pt x="1295" y="459"/>
                  </a:lnTo>
                  <a:lnTo>
                    <a:pt x="1306" y="413"/>
                  </a:lnTo>
                  <a:lnTo>
                    <a:pt x="1327" y="326"/>
                  </a:lnTo>
                  <a:lnTo>
                    <a:pt x="1344" y="245"/>
                  </a:lnTo>
                  <a:lnTo>
                    <a:pt x="1356" y="175"/>
                  </a:lnTo>
                  <a:lnTo>
                    <a:pt x="1365" y="117"/>
                  </a:lnTo>
                  <a:lnTo>
                    <a:pt x="1373" y="71"/>
                  </a:lnTo>
                  <a:lnTo>
                    <a:pt x="1373" y="71"/>
                  </a:lnTo>
                  <a:lnTo>
                    <a:pt x="1327" y="77"/>
                  </a:lnTo>
                  <a:lnTo>
                    <a:pt x="1269" y="88"/>
                  </a:lnTo>
                  <a:lnTo>
                    <a:pt x="1199" y="100"/>
                  </a:lnTo>
                  <a:lnTo>
                    <a:pt x="1118" y="117"/>
                  </a:lnTo>
                  <a:lnTo>
                    <a:pt x="1031" y="137"/>
                  </a:lnTo>
                  <a:lnTo>
                    <a:pt x="984" y="149"/>
                  </a:lnTo>
                  <a:lnTo>
                    <a:pt x="937" y="161"/>
                  </a:lnTo>
                  <a:lnTo>
                    <a:pt x="888" y="175"/>
                  </a:lnTo>
                  <a:lnTo>
                    <a:pt x="840" y="189"/>
                  </a:lnTo>
                  <a:lnTo>
                    <a:pt x="790" y="205"/>
                  </a:lnTo>
                  <a:lnTo>
                    <a:pt x="740" y="222"/>
                  </a:lnTo>
                  <a:lnTo>
                    <a:pt x="691" y="240"/>
                  </a:lnTo>
                  <a:lnTo>
                    <a:pt x="641" y="259"/>
                  </a:lnTo>
                  <a:lnTo>
                    <a:pt x="592" y="279"/>
                  </a:lnTo>
                  <a:lnTo>
                    <a:pt x="544" y="301"/>
                  </a:lnTo>
                  <a:lnTo>
                    <a:pt x="496" y="325"/>
                  </a:lnTo>
                  <a:lnTo>
                    <a:pt x="449" y="348"/>
                  </a:lnTo>
                  <a:lnTo>
                    <a:pt x="405" y="374"/>
                  </a:lnTo>
                  <a:lnTo>
                    <a:pt x="363" y="401"/>
                  </a:lnTo>
                  <a:lnTo>
                    <a:pt x="321" y="430"/>
                  </a:lnTo>
                  <a:lnTo>
                    <a:pt x="301" y="445"/>
                  </a:lnTo>
                  <a:lnTo>
                    <a:pt x="282" y="460"/>
                  </a:lnTo>
                  <a:lnTo>
                    <a:pt x="264" y="476"/>
                  </a:lnTo>
                  <a:lnTo>
                    <a:pt x="246" y="491"/>
                  </a:lnTo>
                  <a:lnTo>
                    <a:pt x="229" y="508"/>
                  </a:lnTo>
                  <a:lnTo>
                    <a:pt x="212" y="524"/>
                  </a:lnTo>
                  <a:lnTo>
                    <a:pt x="196" y="541"/>
                  </a:lnTo>
                  <a:lnTo>
                    <a:pt x="181" y="559"/>
                  </a:lnTo>
                  <a:lnTo>
                    <a:pt x="167" y="576"/>
                  </a:lnTo>
                  <a:lnTo>
                    <a:pt x="153" y="595"/>
                  </a:lnTo>
                  <a:lnTo>
                    <a:pt x="141" y="613"/>
                  </a:lnTo>
                  <a:lnTo>
                    <a:pt x="129" y="632"/>
                  </a:lnTo>
                  <a:lnTo>
                    <a:pt x="118" y="652"/>
                  </a:lnTo>
                  <a:lnTo>
                    <a:pt x="108" y="671"/>
                  </a:lnTo>
                  <a:lnTo>
                    <a:pt x="108" y="671"/>
                  </a:lnTo>
                  <a:lnTo>
                    <a:pt x="102" y="687"/>
                  </a:lnTo>
                  <a:lnTo>
                    <a:pt x="95" y="702"/>
                  </a:lnTo>
                  <a:lnTo>
                    <a:pt x="89" y="718"/>
                  </a:lnTo>
                  <a:lnTo>
                    <a:pt x="84" y="734"/>
                  </a:lnTo>
                  <a:lnTo>
                    <a:pt x="80" y="750"/>
                  </a:lnTo>
                  <a:lnTo>
                    <a:pt x="76" y="766"/>
                  </a:lnTo>
                  <a:lnTo>
                    <a:pt x="73" y="783"/>
                  </a:lnTo>
                  <a:lnTo>
                    <a:pt x="71" y="800"/>
                  </a:lnTo>
                  <a:lnTo>
                    <a:pt x="69" y="816"/>
                  </a:lnTo>
                  <a:lnTo>
                    <a:pt x="68" y="834"/>
                  </a:lnTo>
                  <a:lnTo>
                    <a:pt x="67" y="850"/>
                  </a:lnTo>
                  <a:lnTo>
                    <a:pt x="67" y="868"/>
                  </a:lnTo>
                  <a:lnTo>
                    <a:pt x="68" y="885"/>
                  </a:lnTo>
                  <a:lnTo>
                    <a:pt x="69" y="903"/>
                  </a:lnTo>
                  <a:lnTo>
                    <a:pt x="74" y="938"/>
                  </a:lnTo>
                  <a:lnTo>
                    <a:pt x="80" y="974"/>
                  </a:lnTo>
                  <a:lnTo>
                    <a:pt x="90" y="1011"/>
                  </a:lnTo>
                  <a:lnTo>
                    <a:pt x="103" y="1048"/>
                  </a:lnTo>
                  <a:lnTo>
                    <a:pt x="117" y="1086"/>
                  </a:lnTo>
                  <a:lnTo>
                    <a:pt x="134" y="1125"/>
                  </a:lnTo>
                  <a:lnTo>
                    <a:pt x="153" y="1163"/>
                  </a:lnTo>
                  <a:lnTo>
                    <a:pt x="176" y="1202"/>
                  </a:lnTo>
                  <a:lnTo>
                    <a:pt x="201" y="1242"/>
                  </a:lnTo>
                  <a:lnTo>
                    <a:pt x="201" y="124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">
              <a:extLst>
                <a:ext uri="{FF2B5EF4-FFF2-40B4-BE49-F238E27FC236}">
                  <a16:creationId xmlns:a16="http://schemas.microsoft.com/office/drawing/2014/main" id="{ED3816FE-564A-46DB-9256-CA3AC330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88" y="2709863"/>
              <a:ext cx="90488" cy="88900"/>
            </a:xfrm>
            <a:custGeom>
              <a:avLst/>
              <a:gdLst>
                <a:gd name="T0" fmla="*/ 363 w 397"/>
                <a:gd name="T1" fmla="*/ 396 h 396"/>
                <a:gd name="T2" fmla="*/ 33 w 397"/>
                <a:gd name="T3" fmla="*/ 396 h 396"/>
                <a:gd name="T4" fmla="*/ 33 w 397"/>
                <a:gd name="T5" fmla="*/ 396 h 396"/>
                <a:gd name="T6" fmla="*/ 26 w 397"/>
                <a:gd name="T7" fmla="*/ 395 h 396"/>
                <a:gd name="T8" fmla="*/ 20 w 397"/>
                <a:gd name="T9" fmla="*/ 394 h 396"/>
                <a:gd name="T10" fmla="*/ 15 w 397"/>
                <a:gd name="T11" fmla="*/ 391 h 396"/>
                <a:gd name="T12" fmla="*/ 10 w 397"/>
                <a:gd name="T13" fmla="*/ 387 h 396"/>
                <a:gd name="T14" fmla="*/ 5 w 397"/>
                <a:gd name="T15" fmla="*/ 382 h 396"/>
                <a:gd name="T16" fmla="*/ 2 w 397"/>
                <a:gd name="T17" fmla="*/ 377 h 396"/>
                <a:gd name="T18" fmla="*/ 0 w 397"/>
                <a:gd name="T19" fmla="*/ 370 h 396"/>
                <a:gd name="T20" fmla="*/ 0 w 397"/>
                <a:gd name="T21" fmla="*/ 363 h 396"/>
                <a:gd name="T22" fmla="*/ 0 w 397"/>
                <a:gd name="T23" fmla="*/ 33 h 396"/>
                <a:gd name="T24" fmla="*/ 0 w 397"/>
                <a:gd name="T25" fmla="*/ 33 h 396"/>
                <a:gd name="T26" fmla="*/ 0 w 397"/>
                <a:gd name="T27" fmla="*/ 26 h 396"/>
                <a:gd name="T28" fmla="*/ 2 w 397"/>
                <a:gd name="T29" fmla="*/ 20 h 396"/>
                <a:gd name="T30" fmla="*/ 5 w 397"/>
                <a:gd name="T31" fmla="*/ 15 h 396"/>
                <a:gd name="T32" fmla="*/ 10 w 397"/>
                <a:gd name="T33" fmla="*/ 9 h 396"/>
                <a:gd name="T34" fmla="*/ 15 w 397"/>
                <a:gd name="T35" fmla="*/ 5 h 396"/>
                <a:gd name="T36" fmla="*/ 20 w 397"/>
                <a:gd name="T37" fmla="*/ 2 h 396"/>
                <a:gd name="T38" fmla="*/ 26 w 397"/>
                <a:gd name="T39" fmla="*/ 0 h 396"/>
                <a:gd name="T40" fmla="*/ 33 w 397"/>
                <a:gd name="T41" fmla="*/ 0 h 396"/>
                <a:gd name="T42" fmla="*/ 33 w 397"/>
                <a:gd name="T43" fmla="*/ 0 h 396"/>
                <a:gd name="T44" fmla="*/ 40 w 397"/>
                <a:gd name="T45" fmla="*/ 0 h 396"/>
                <a:gd name="T46" fmla="*/ 46 w 397"/>
                <a:gd name="T47" fmla="*/ 2 h 396"/>
                <a:gd name="T48" fmla="*/ 52 w 397"/>
                <a:gd name="T49" fmla="*/ 5 h 396"/>
                <a:gd name="T50" fmla="*/ 56 w 397"/>
                <a:gd name="T51" fmla="*/ 9 h 396"/>
                <a:gd name="T52" fmla="*/ 60 w 397"/>
                <a:gd name="T53" fmla="*/ 15 h 396"/>
                <a:gd name="T54" fmla="*/ 63 w 397"/>
                <a:gd name="T55" fmla="*/ 20 h 396"/>
                <a:gd name="T56" fmla="*/ 65 w 397"/>
                <a:gd name="T57" fmla="*/ 26 h 396"/>
                <a:gd name="T58" fmla="*/ 66 w 397"/>
                <a:gd name="T59" fmla="*/ 33 h 396"/>
                <a:gd name="T60" fmla="*/ 66 w 397"/>
                <a:gd name="T61" fmla="*/ 330 h 396"/>
                <a:gd name="T62" fmla="*/ 363 w 397"/>
                <a:gd name="T63" fmla="*/ 330 h 396"/>
                <a:gd name="T64" fmla="*/ 363 w 397"/>
                <a:gd name="T65" fmla="*/ 330 h 396"/>
                <a:gd name="T66" fmla="*/ 371 w 397"/>
                <a:gd name="T67" fmla="*/ 331 h 396"/>
                <a:gd name="T68" fmla="*/ 377 w 397"/>
                <a:gd name="T69" fmla="*/ 333 h 396"/>
                <a:gd name="T70" fmla="*/ 382 w 397"/>
                <a:gd name="T71" fmla="*/ 336 h 396"/>
                <a:gd name="T72" fmla="*/ 387 w 397"/>
                <a:gd name="T73" fmla="*/ 340 h 396"/>
                <a:gd name="T74" fmla="*/ 391 w 397"/>
                <a:gd name="T75" fmla="*/ 345 h 396"/>
                <a:gd name="T76" fmla="*/ 395 w 397"/>
                <a:gd name="T77" fmla="*/ 351 h 396"/>
                <a:gd name="T78" fmla="*/ 396 w 397"/>
                <a:gd name="T79" fmla="*/ 357 h 396"/>
                <a:gd name="T80" fmla="*/ 397 w 397"/>
                <a:gd name="T81" fmla="*/ 363 h 396"/>
                <a:gd name="T82" fmla="*/ 397 w 397"/>
                <a:gd name="T83" fmla="*/ 363 h 396"/>
                <a:gd name="T84" fmla="*/ 396 w 397"/>
                <a:gd name="T85" fmla="*/ 370 h 396"/>
                <a:gd name="T86" fmla="*/ 395 w 397"/>
                <a:gd name="T87" fmla="*/ 377 h 396"/>
                <a:gd name="T88" fmla="*/ 391 w 397"/>
                <a:gd name="T89" fmla="*/ 382 h 396"/>
                <a:gd name="T90" fmla="*/ 387 w 397"/>
                <a:gd name="T91" fmla="*/ 387 h 396"/>
                <a:gd name="T92" fmla="*/ 382 w 397"/>
                <a:gd name="T93" fmla="*/ 391 h 396"/>
                <a:gd name="T94" fmla="*/ 377 w 397"/>
                <a:gd name="T95" fmla="*/ 394 h 396"/>
                <a:gd name="T96" fmla="*/ 371 w 397"/>
                <a:gd name="T97" fmla="*/ 395 h 396"/>
                <a:gd name="T98" fmla="*/ 363 w 397"/>
                <a:gd name="T99" fmla="*/ 396 h 396"/>
                <a:gd name="T100" fmla="*/ 363 w 397"/>
                <a:gd name="T101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396">
                  <a:moveTo>
                    <a:pt x="363" y="396"/>
                  </a:moveTo>
                  <a:lnTo>
                    <a:pt x="33" y="396"/>
                  </a:lnTo>
                  <a:lnTo>
                    <a:pt x="33" y="396"/>
                  </a:lnTo>
                  <a:lnTo>
                    <a:pt x="26" y="395"/>
                  </a:lnTo>
                  <a:lnTo>
                    <a:pt x="20" y="394"/>
                  </a:lnTo>
                  <a:lnTo>
                    <a:pt x="15" y="391"/>
                  </a:lnTo>
                  <a:lnTo>
                    <a:pt x="10" y="387"/>
                  </a:lnTo>
                  <a:lnTo>
                    <a:pt x="5" y="382"/>
                  </a:lnTo>
                  <a:lnTo>
                    <a:pt x="2" y="377"/>
                  </a:lnTo>
                  <a:lnTo>
                    <a:pt x="0" y="370"/>
                  </a:lnTo>
                  <a:lnTo>
                    <a:pt x="0" y="36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6" y="9"/>
                  </a:lnTo>
                  <a:lnTo>
                    <a:pt x="60" y="15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330"/>
                  </a:lnTo>
                  <a:lnTo>
                    <a:pt x="363" y="330"/>
                  </a:lnTo>
                  <a:lnTo>
                    <a:pt x="363" y="330"/>
                  </a:lnTo>
                  <a:lnTo>
                    <a:pt x="371" y="331"/>
                  </a:lnTo>
                  <a:lnTo>
                    <a:pt x="377" y="333"/>
                  </a:lnTo>
                  <a:lnTo>
                    <a:pt x="382" y="336"/>
                  </a:lnTo>
                  <a:lnTo>
                    <a:pt x="387" y="340"/>
                  </a:lnTo>
                  <a:lnTo>
                    <a:pt x="391" y="345"/>
                  </a:lnTo>
                  <a:lnTo>
                    <a:pt x="395" y="351"/>
                  </a:lnTo>
                  <a:lnTo>
                    <a:pt x="396" y="357"/>
                  </a:lnTo>
                  <a:lnTo>
                    <a:pt x="397" y="363"/>
                  </a:lnTo>
                  <a:lnTo>
                    <a:pt x="397" y="363"/>
                  </a:lnTo>
                  <a:lnTo>
                    <a:pt x="396" y="370"/>
                  </a:lnTo>
                  <a:lnTo>
                    <a:pt x="395" y="377"/>
                  </a:lnTo>
                  <a:lnTo>
                    <a:pt x="391" y="382"/>
                  </a:lnTo>
                  <a:lnTo>
                    <a:pt x="387" y="387"/>
                  </a:lnTo>
                  <a:lnTo>
                    <a:pt x="382" y="391"/>
                  </a:lnTo>
                  <a:lnTo>
                    <a:pt x="377" y="394"/>
                  </a:lnTo>
                  <a:lnTo>
                    <a:pt x="371" y="395"/>
                  </a:lnTo>
                  <a:lnTo>
                    <a:pt x="363" y="396"/>
                  </a:lnTo>
                  <a:lnTo>
                    <a:pt x="363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">
              <a:extLst>
                <a:ext uri="{FF2B5EF4-FFF2-40B4-BE49-F238E27FC236}">
                  <a16:creationId xmlns:a16="http://schemas.microsoft.com/office/drawing/2014/main" id="{B369930C-41E8-4218-A0AD-C3C4802CB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613" y="2671763"/>
              <a:ext cx="68263" cy="68263"/>
            </a:xfrm>
            <a:custGeom>
              <a:avLst/>
              <a:gdLst>
                <a:gd name="T0" fmla="*/ 265 w 298"/>
                <a:gd name="T1" fmla="*/ 298 h 298"/>
                <a:gd name="T2" fmla="*/ 33 w 298"/>
                <a:gd name="T3" fmla="*/ 298 h 298"/>
                <a:gd name="T4" fmla="*/ 33 w 298"/>
                <a:gd name="T5" fmla="*/ 298 h 298"/>
                <a:gd name="T6" fmla="*/ 27 w 298"/>
                <a:gd name="T7" fmla="*/ 296 h 298"/>
                <a:gd name="T8" fmla="*/ 21 w 298"/>
                <a:gd name="T9" fmla="*/ 294 h 298"/>
                <a:gd name="T10" fmla="*/ 15 w 298"/>
                <a:gd name="T11" fmla="*/ 291 h 298"/>
                <a:gd name="T12" fmla="*/ 10 w 298"/>
                <a:gd name="T13" fmla="*/ 287 h 298"/>
                <a:gd name="T14" fmla="*/ 6 w 298"/>
                <a:gd name="T15" fmla="*/ 282 h 298"/>
                <a:gd name="T16" fmla="*/ 3 w 298"/>
                <a:gd name="T17" fmla="*/ 277 h 298"/>
                <a:gd name="T18" fmla="*/ 1 w 298"/>
                <a:gd name="T19" fmla="*/ 271 h 298"/>
                <a:gd name="T20" fmla="*/ 0 w 298"/>
                <a:gd name="T21" fmla="*/ 264 h 298"/>
                <a:gd name="T22" fmla="*/ 0 w 298"/>
                <a:gd name="T23" fmla="*/ 33 h 298"/>
                <a:gd name="T24" fmla="*/ 0 w 298"/>
                <a:gd name="T25" fmla="*/ 33 h 298"/>
                <a:gd name="T26" fmla="*/ 1 w 298"/>
                <a:gd name="T27" fmla="*/ 26 h 298"/>
                <a:gd name="T28" fmla="*/ 3 w 298"/>
                <a:gd name="T29" fmla="*/ 20 h 298"/>
                <a:gd name="T30" fmla="*/ 6 w 298"/>
                <a:gd name="T31" fmla="*/ 14 h 298"/>
                <a:gd name="T32" fmla="*/ 10 w 298"/>
                <a:gd name="T33" fmla="*/ 9 h 298"/>
                <a:gd name="T34" fmla="*/ 15 w 298"/>
                <a:gd name="T35" fmla="*/ 6 h 298"/>
                <a:gd name="T36" fmla="*/ 21 w 298"/>
                <a:gd name="T37" fmla="*/ 3 h 298"/>
                <a:gd name="T38" fmla="*/ 27 w 298"/>
                <a:gd name="T39" fmla="*/ 1 h 298"/>
                <a:gd name="T40" fmla="*/ 33 w 298"/>
                <a:gd name="T41" fmla="*/ 0 h 298"/>
                <a:gd name="T42" fmla="*/ 33 w 298"/>
                <a:gd name="T43" fmla="*/ 0 h 298"/>
                <a:gd name="T44" fmla="*/ 40 w 298"/>
                <a:gd name="T45" fmla="*/ 1 h 298"/>
                <a:gd name="T46" fmla="*/ 47 w 298"/>
                <a:gd name="T47" fmla="*/ 3 h 298"/>
                <a:gd name="T48" fmla="*/ 52 w 298"/>
                <a:gd name="T49" fmla="*/ 6 h 298"/>
                <a:gd name="T50" fmla="*/ 57 w 298"/>
                <a:gd name="T51" fmla="*/ 9 h 298"/>
                <a:gd name="T52" fmla="*/ 61 w 298"/>
                <a:gd name="T53" fmla="*/ 14 h 298"/>
                <a:gd name="T54" fmla="*/ 64 w 298"/>
                <a:gd name="T55" fmla="*/ 20 h 298"/>
                <a:gd name="T56" fmla="*/ 66 w 298"/>
                <a:gd name="T57" fmla="*/ 26 h 298"/>
                <a:gd name="T58" fmla="*/ 66 w 298"/>
                <a:gd name="T59" fmla="*/ 33 h 298"/>
                <a:gd name="T60" fmla="*/ 66 w 298"/>
                <a:gd name="T61" fmla="*/ 231 h 298"/>
                <a:gd name="T62" fmla="*/ 265 w 298"/>
                <a:gd name="T63" fmla="*/ 231 h 298"/>
                <a:gd name="T64" fmla="*/ 265 w 298"/>
                <a:gd name="T65" fmla="*/ 231 h 298"/>
                <a:gd name="T66" fmla="*/ 271 w 298"/>
                <a:gd name="T67" fmla="*/ 231 h 298"/>
                <a:gd name="T68" fmla="*/ 277 w 298"/>
                <a:gd name="T69" fmla="*/ 233 h 298"/>
                <a:gd name="T70" fmla="*/ 284 w 298"/>
                <a:gd name="T71" fmla="*/ 236 h 298"/>
                <a:gd name="T72" fmla="*/ 289 w 298"/>
                <a:gd name="T73" fmla="*/ 241 h 298"/>
                <a:gd name="T74" fmla="*/ 292 w 298"/>
                <a:gd name="T75" fmla="*/ 246 h 298"/>
                <a:gd name="T76" fmla="*/ 295 w 298"/>
                <a:gd name="T77" fmla="*/ 251 h 298"/>
                <a:gd name="T78" fmla="*/ 297 w 298"/>
                <a:gd name="T79" fmla="*/ 257 h 298"/>
                <a:gd name="T80" fmla="*/ 298 w 298"/>
                <a:gd name="T81" fmla="*/ 264 h 298"/>
                <a:gd name="T82" fmla="*/ 298 w 298"/>
                <a:gd name="T83" fmla="*/ 264 h 298"/>
                <a:gd name="T84" fmla="*/ 297 w 298"/>
                <a:gd name="T85" fmla="*/ 271 h 298"/>
                <a:gd name="T86" fmla="*/ 295 w 298"/>
                <a:gd name="T87" fmla="*/ 277 h 298"/>
                <a:gd name="T88" fmla="*/ 292 w 298"/>
                <a:gd name="T89" fmla="*/ 282 h 298"/>
                <a:gd name="T90" fmla="*/ 289 w 298"/>
                <a:gd name="T91" fmla="*/ 287 h 298"/>
                <a:gd name="T92" fmla="*/ 284 w 298"/>
                <a:gd name="T93" fmla="*/ 291 h 298"/>
                <a:gd name="T94" fmla="*/ 277 w 298"/>
                <a:gd name="T95" fmla="*/ 294 h 298"/>
                <a:gd name="T96" fmla="*/ 271 w 298"/>
                <a:gd name="T97" fmla="*/ 296 h 298"/>
                <a:gd name="T98" fmla="*/ 265 w 298"/>
                <a:gd name="T99" fmla="*/ 298 h 298"/>
                <a:gd name="T100" fmla="*/ 265 w 298"/>
                <a:gd name="T101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8" h="298">
                  <a:moveTo>
                    <a:pt x="265" y="298"/>
                  </a:moveTo>
                  <a:lnTo>
                    <a:pt x="33" y="298"/>
                  </a:lnTo>
                  <a:lnTo>
                    <a:pt x="33" y="298"/>
                  </a:lnTo>
                  <a:lnTo>
                    <a:pt x="27" y="296"/>
                  </a:lnTo>
                  <a:lnTo>
                    <a:pt x="21" y="294"/>
                  </a:lnTo>
                  <a:lnTo>
                    <a:pt x="15" y="291"/>
                  </a:lnTo>
                  <a:lnTo>
                    <a:pt x="10" y="287"/>
                  </a:lnTo>
                  <a:lnTo>
                    <a:pt x="6" y="282"/>
                  </a:lnTo>
                  <a:lnTo>
                    <a:pt x="3" y="277"/>
                  </a:lnTo>
                  <a:lnTo>
                    <a:pt x="1" y="271"/>
                  </a:lnTo>
                  <a:lnTo>
                    <a:pt x="0" y="26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9"/>
                  </a:lnTo>
                  <a:lnTo>
                    <a:pt x="15" y="6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7" y="9"/>
                  </a:lnTo>
                  <a:lnTo>
                    <a:pt x="61" y="14"/>
                  </a:lnTo>
                  <a:lnTo>
                    <a:pt x="64" y="20"/>
                  </a:lnTo>
                  <a:lnTo>
                    <a:pt x="66" y="26"/>
                  </a:lnTo>
                  <a:lnTo>
                    <a:pt x="66" y="33"/>
                  </a:lnTo>
                  <a:lnTo>
                    <a:pt x="66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71" y="231"/>
                  </a:lnTo>
                  <a:lnTo>
                    <a:pt x="277" y="233"/>
                  </a:lnTo>
                  <a:lnTo>
                    <a:pt x="284" y="236"/>
                  </a:lnTo>
                  <a:lnTo>
                    <a:pt x="289" y="241"/>
                  </a:lnTo>
                  <a:lnTo>
                    <a:pt x="292" y="246"/>
                  </a:lnTo>
                  <a:lnTo>
                    <a:pt x="295" y="251"/>
                  </a:lnTo>
                  <a:lnTo>
                    <a:pt x="297" y="257"/>
                  </a:lnTo>
                  <a:lnTo>
                    <a:pt x="298" y="264"/>
                  </a:lnTo>
                  <a:lnTo>
                    <a:pt x="298" y="264"/>
                  </a:lnTo>
                  <a:lnTo>
                    <a:pt x="297" y="271"/>
                  </a:lnTo>
                  <a:lnTo>
                    <a:pt x="295" y="277"/>
                  </a:lnTo>
                  <a:lnTo>
                    <a:pt x="292" y="282"/>
                  </a:lnTo>
                  <a:lnTo>
                    <a:pt x="289" y="287"/>
                  </a:lnTo>
                  <a:lnTo>
                    <a:pt x="284" y="291"/>
                  </a:lnTo>
                  <a:lnTo>
                    <a:pt x="277" y="294"/>
                  </a:lnTo>
                  <a:lnTo>
                    <a:pt x="271" y="296"/>
                  </a:lnTo>
                  <a:lnTo>
                    <a:pt x="265" y="298"/>
                  </a:lnTo>
                  <a:lnTo>
                    <a:pt x="265" y="298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9">
              <a:extLst>
                <a:ext uri="{FF2B5EF4-FFF2-40B4-BE49-F238E27FC236}">
                  <a16:creationId xmlns:a16="http://schemas.microsoft.com/office/drawing/2014/main" id="{9F48E9F7-CEBC-48ED-8B16-6C248DB93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938" y="2641600"/>
              <a:ext cx="38100" cy="38100"/>
            </a:xfrm>
            <a:custGeom>
              <a:avLst/>
              <a:gdLst>
                <a:gd name="T0" fmla="*/ 133 w 166"/>
                <a:gd name="T1" fmla="*/ 166 h 166"/>
                <a:gd name="T2" fmla="*/ 33 w 166"/>
                <a:gd name="T3" fmla="*/ 166 h 166"/>
                <a:gd name="T4" fmla="*/ 33 w 166"/>
                <a:gd name="T5" fmla="*/ 166 h 166"/>
                <a:gd name="T6" fmla="*/ 26 w 166"/>
                <a:gd name="T7" fmla="*/ 165 h 166"/>
                <a:gd name="T8" fmla="*/ 20 w 166"/>
                <a:gd name="T9" fmla="*/ 164 h 166"/>
                <a:gd name="T10" fmla="*/ 15 w 166"/>
                <a:gd name="T11" fmla="*/ 160 h 166"/>
                <a:gd name="T12" fmla="*/ 9 w 166"/>
                <a:gd name="T13" fmla="*/ 156 h 166"/>
                <a:gd name="T14" fmla="*/ 5 w 166"/>
                <a:gd name="T15" fmla="*/ 151 h 166"/>
                <a:gd name="T16" fmla="*/ 2 w 166"/>
                <a:gd name="T17" fmla="*/ 146 h 166"/>
                <a:gd name="T18" fmla="*/ 1 w 166"/>
                <a:gd name="T19" fmla="*/ 140 h 166"/>
                <a:gd name="T20" fmla="*/ 0 w 166"/>
                <a:gd name="T21" fmla="*/ 133 h 166"/>
                <a:gd name="T22" fmla="*/ 0 w 166"/>
                <a:gd name="T23" fmla="*/ 33 h 166"/>
                <a:gd name="T24" fmla="*/ 0 w 166"/>
                <a:gd name="T25" fmla="*/ 33 h 166"/>
                <a:gd name="T26" fmla="*/ 1 w 166"/>
                <a:gd name="T27" fmla="*/ 27 h 166"/>
                <a:gd name="T28" fmla="*/ 2 w 166"/>
                <a:gd name="T29" fmla="*/ 21 h 166"/>
                <a:gd name="T30" fmla="*/ 5 w 166"/>
                <a:gd name="T31" fmla="*/ 15 h 166"/>
                <a:gd name="T32" fmla="*/ 9 w 166"/>
                <a:gd name="T33" fmla="*/ 10 h 166"/>
                <a:gd name="T34" fmla="*/ 15 w 166"/>
                <a:gd name="T35" fmla="*/ 6 h 166"/>
                <a:gd name="T36" fmla="*/ 20 w 166"/>
                <a:gd name="T37" fmla="*/ 3 h 166"/>
                <a:gd name="T38" fmla="*/ 26 w 166"/>
                <a:gd name="T39" fmla="*/ 1 h 166"/>
                <a:gd name="T40" fmla="*/ 33 w 166"/>
                <a:gd name="T41" fmla="*/ 0 h 166"/>
                <a:gd name="T42" fmla="*/ 33 w 166"/>
                <a:gd name="T43" fmla="*/ 0 h 166"/>
                <a:gd name="T44" fmla="*/ 39 w 166"/>
                <a:gd name="T45" fmla="*/ 1 h 166"/>
                <a:gd name="T46" fmla="*/ 46 w 166"/>
                <a:gd name="T47" fmla="*/ 3 h 166"/>
                <a:gd name="T48" fmla="*/ 52 w 166"/>
                <a:gd name="T49" fmla="*/ 6 h 166"/>
                <a:gd name="T50" fmla="*/ 56 w 166"/>
                <a:gd name="T51" fmla="*/ 10 h 166"/>
                <a:gd name="T52" fmla="*/ 60 w 166"/>
                <a:gd name="T53" fmla="*/ 15 h 166"/>
                <a:gd name="T54" fmla="*/ 63 w 166"/>
                <a:gd name="T55" fmla="*/ 21 h 166"/>
                <a:gd name="T56" fmla="*/ 65 w 166"/>
                <a:gd name="T57" fmla="*/ 27 h 166"/>
                <a:gd name="T58" fmla="*/ 66 w 166"/>
                <a:gd name="T59" fmla="*/ 33 h 166"/>
                <a:gd name="T60" fmla="*/ 66 w 166"/>
                <a:gd name="T61" fmla="*/ 99 h 166"/>
                <a:gd name="T62" fmla="*/ 133 w 166"/>
                <a:gd name="T63" fmla="*/ 99 h 166"/>
                <a:gd name="T64" fmla="*/ 133 w 166"/>
                <a:gd name="T65" fmla="*/ 99 h 166"/>
                <a:gd name="T66" fmla="*/ 139 w 166"/>
                <a:gd name="T67" fmla="*/ 100 h 166"/>
                <a:gd name="T68" fmla="*/ 145 w 166"/>
                <a:gd name="T69" fmla="*/ 103 h 166"/>
                <a:gd name="T70" fmla="*/ 151 w 166"/>
                <a:gd name="T71" fmla="*/ 106 h 166"/>
                <a:gd name="T72" fmla="*/ 155 w 166"/>
                <a:gd name="T73" fmla="*/ 109 h 166"/>
                <a:gd name="T74" fmla="*/ 159 w 166"/>
                <a:gd name="T75" fmla="*/ 114 h 166"/>
                <a:gd name="T76" fmla="*/ 163 w 166"/>
                <a:gd name="T77" fmla="*/ 120 h 166"/>
                <a:gd name="T78" fmla="*/ 165 w 166"/>
                <a:gd name="T79" fmla="*/ 126 h 166"/>
                <a:gd name="T80" fmla="*/ 166 w 166"/>
                <a:gd name="T81" fmla="*/ 133 h 166"/>
                <a:gd name="T82" fmla="*/ 166 w 166"/>
                <a:gd name="T83" fmla="*/ 133 h 166"/>
                <a:gd name="T84" fmla="*/ 165 w 166"/>
                <a:gd name="T85" fmla="*/ 140 h 166"/>
                <a:gd name="T86" fmla="*/ 163 w 166"/>
                <a:gd name="T87" fmla="*/ 146 h 166"/>
                <a:gd name="T88" fmla="*/ 159 w 166"/>
                <a:gd name="T89" fmla="*/ 151 h 166"/>
                <a:gd name="T90" fmla="*/ 155 w 166"/>
                <a:gd name="T91" fmla="*/ 156 h 166"/>
                <a:gd name="T92" fmla="*/ 151 w 166"/>
                <a:gd name="T93" fmla="*/ 160 h 166"/>
                <a:gd name="T94" fmla="*/ 145 w 166"/>
                <a:gd name="T95" fmla="*/ 164 h 166"/>
                <a:gd name="T96" fmla="*/ 139 w 166"/>
                <a:gd name="T97" fmla="*/ 165 h 166"/>
                <a:gd name="T98" fmla="*/ 133 w 166"/>
                <a:gd name="T99" fmla="*/ 166 h 166"/>
                <a:gd name="T100" fmla="*/ 133 w 166"/>
                <a:gd name="T10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166">
                  <a:moveTo>
                    <a:pt x="133" y="166"/>
                  </a:moveTo>
                  <a:lnTo>
                    <a:pt x="33" y="166"/>
                  </a:lnTo>
                  <a:lnTo>
                    <a:pt x="33" y="166"/>
                  </a:lnTo>
                  <a:lnTo>
                    <a:pt x="26" y="165"/>
                  </a:lnTo>
                  <a:lnTo>
                    <a:pt x="20" y="164"/>
                  </a:lnTo>
                  <a:lnTo>
                    <a:pt x="15" y="160"/>
                  </a:lnTo>
                  <a:lnTo>
                    <a:pt x="9" y="156"/>
                  </a:lnTo>
                  <a:lnTo>
                    <a:pt x="5" y="151"/>
                  </a:lnTo>
                  <a:lnTo>
                    <a:pt x="2" y="146"/>
                  </a:lnTo>
                  <a:lnTo>
                    <a:pt x="1" y="140"/>
                  </a:lnTo>
                  <a:lnTo>
                    <a:pt x="0" y="1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2" y="21"/>
                  </a:lnTo>
                  <a:lnTo>
                    <a:pt x="5" y="15"/>
                  </a:lnTo>
                  <a:lnTo>
                    <a:pt x="9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1"/>
                  </a:lnTo>
                  <a:lnTo>
                    <a:pt x="46" y="3"/>
                  </a:lnTo>
                  <a:lnTo>
                    <a:pt x="52" y="6"/>
                  </a:lnTo>
                  <a:lnTo>
                    <a:pt x="56" y="10"/>
                  </a:lnTo>
                  <a:lnTo>
                    <a:pt x="60" y="15"/>
                  </a:lnTo>
                  <a:lnTo>
                    <a:pt x="63" y="21"/>
                  </a:lnTo>
                  <a:lnTo>
                    <a:pt x="65" y="27"/>
                  </a:lnTo>
                  <a:lnTo>
                    <a:pt x="66" y="33"/>
                  </a:lnTo>
                  <a:lnTo>
                    <a:pt x="66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9" y="100"/>
                  </a:lnTo>
                  <a:lnTo>
                    <a:pt x="145" y="103"/>
                  </a:lnTo>
                  <a:lnTo>
                    <a:pt x="151" y="106"/>
                  </a:lnTo>
                  <a:lnTo>
                    <a:pt x="155" y="109"/>
                  </a:lnTo>
                  <a:lnTo>
                    <a:pt x="159" y="114"/>
                  </a:lnTo>
                  <a:lnTo>
                    <a:pt x="163" y="120"/>
                  </a:lnTo>
                  <a:lnTo>
                    <a:pt x="165" y="126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5" y="140"/>
                  </a:lnTo>
                  <a:lnTo>
                    <a:pt x="163" y="146"/>
                  </a:lnTo>
                  <a:lnTo>
                    <a:pt x="159" y="151"/>
                  </a:lnTo>
                  <a:lnTo>
                    <a:pt x="155" y="156"/>
                  </a:lnTo>
                  <a:lnTo>
                    <a:pt x="151" y="160"/>
                  </a:lnTo>
                  <a:lnTo>
                    <a:pt x="145" y="164"/>
                  </a:lnTo>
                  <a:lnTo>
                    <a:pt x="139" y="165"/>
                  </a:lnTo>
                  <a:lnTo>
                    <a:pt x="133" y="166"/>
                  </a:lnTo>
                  <a:lnTo>
                    <a:pt x="133" y="16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91B8C762-6A8C-41C1-A136-B5FBD489D54F}"/>
              </a:ext>
            </a:extLst>
          </p:cNvPr>
          <p:cNvGrpSpPr/>
          <p:nvPr/>
        </p:nvGrpSpPr>
        <p:grpSpPr>
          <a:xfrm>
            <a:off x="1334519" y="2297536"/>
            <a:ext cx="292100" cy="344488"/>
            <a:chOff x="8464550" y="1825625"/>
            <a:chExt cx="292100" cy="344488"/>
          </a:xfrm>
        </p:grpSpPr>
        <p:sp>
          <p:nvSpPr>
            <p:cNvPr id="86" name="Freeform 118">
              <a:extLst>
                <a:ext uri="{FF2B5EF4-FFF2-40B4-BE49-F238E27FC236}">
                  <a16:creationId xmlns:a16="http://schemas.microsoft.com/office/drawing/2014/main" id="{6300DDFE-9D9F-441F-AD53-D5D8F6EEF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5038" y="2065338"/>
              <a:ext cx="149225" cy="104775"/>
            </a:xfrm>
            <a:custGeom>
              <a:avLst/>
              <a:gdLst>
                <a:gd name="T0" fmla="*/ 496 w 661"/>
                <a:gd name="T1" fmla="*/ 462 h 462"/>
                <a:gd name="T2" fmla="*/ 165 w 661"/>
                <a:gd name="T3" fmla="*/ 462 h 462"/>
                <a:gd name="T4" fmla="*/ 165 w 661"/>
                <a:gd name="T5" fmla="*/ 462 h 462"/>
                <a:gd name="T6" fmla="*/ 160 w 661"/>
                <a:gd name="T7" fmla="*/ 461 h 462"/>
                <a:gd name="T8" fmla="*/ 154 w 661"/>
                <a:gd name="T9" fmla="*/ 460 h 462"/>
                <a:gd name="T10" fmla="*/ 150 w 661"/>
                <a:gd name="T11" fmla="*/ 458 h 462"/>
                <a:gd name="T12" fmla="*/ 145 w 661"/>
                <a:gd name="T13" fmla="*/ 456 h 462"/>
                <a:gd name="T14" fmla="*/ 142 w 661"/>
                <a:gd name="T15" fmla="*/ 453 h 462"/>
                <a:gd name="T16" fmla="*/ 138 w 661"/>
                <a:gd name="T17" fmla="*/ 449 h 462"/>
                <a:gd name="T18" fmla="*/ 136 w 661"/>
                <a:gd name="T19" fmla="*/ 445 h 462"/>
                <a:gd name="T20" fmla="*/ 134 w 661"/>
                <a:gd name="T21" fmla="*/ 439 h 462"/>
                <a:gd name="T22" fmla="*/ 1 w 661"/>
                <a:gd name="T23" fmla="*/ 43 h 462"/>
                <a:gd name="T24" fmla="*/ 1 w 661"/>
                <a:gd name="T25" fmla="*/ 43 h 462"/>
                <a:gd name="T26" fmla="*/ 0 w 661"/>
                <a:gd name="T27" fmla="*/ 35 h 462"/>
                <a:gd name="T28" fmla="*/ 0 w 661"/>
                <a:gd name="T29" fmla="*/ 28 h 462"/>
                <a:gd name="T30" fmla="*/ 2 w 661"/>
                <a:gd name="T31" fmla="*/ 19 h 462"/>
                <a:gd name="T32" fmla="*/ 5 w 661"/>
                <a:gd name="T33" fmla="*/ 13 h 462"/>
                <a:gd name="T34" fmla="*/ 5 w 661"/>
                <a:gd name="T35" fmla="*/ 13 h 462"/>
                <a:gd name="T36" fmla="*/ 12 w 661"/>
                <a:gd name="T37" fmla="*/ 7 h 462"/>
                <a:gd name="T38" fmla="*/ 18 w 661"/>
                <a:gd name="T39" fmla="*/ 3 h 462"/>
                <a:gd name="T40" fmla="*/ 25 w 661"/>
                <a:gd name="T41" fmla="*/ 0 h 462"/>
                <a:gd name="T42" fmla="*/ 32 w 661"/>
                <a:gd name="T43" fmla="*/ 0 h 462"/>
                <a:gd name="T44" fmla="*/ 627 w 661"/>
                <a:gd name="T45" fmla="*/ 0 h 462"/>
                <a:gd name="T46" fmla="*/ 627 w 661"/>
                <a:gd name="T47" fmla="*/ 0 h 462"/>
                <a:gd name="T48" fmla="*/ 636 w 661"/>
                <a:gd name="T49" fmla="*/ 0 h 462"/>
                <a:gd name="T50" fmla="*/ 643 w 661"/>
                <a:gd name="T51" fmla="*/ 3 h 462"/>
                <a:gd name="T52" fmla="*/ 649 w 661"/>
                <a:gd name="T53" fmla="*/ 7 h 462"/>
                <a:gd name="T54" fmla="*/ 654 w 661"/>
                <a:gd name="T55" fmla="*/ 13 h 462"/>
                <a:gd name="T56" fmla="*/ 654 w 661"/>
                <a:gd name="T57" fmla="*/ 13 h 462"/>
                <a:gd name="T58" fmla="*/ 658 w 661"/>
                <a:gd name="T59" fmla="*/ 19 h 462"/>
                <a:gd name="T60" fmla="*/ 661 w 661"/>
                <a:gd name="T61" fmla="*/ 28 h 462"/>
                <a:gd name="T62" fmla="*/ 661 w 661"/>
                <a:gd name="T63" fmla="*/ 35 h 462"/>
                <a:gd name="T64" fmla="*/ 660 w 661"/>
                <a:gd name="T65" fmla="*/ 43 h 462"/>
                <a:gd name="T66" fmla="*/ 527 w 661"/>
                <a:gd name="T67" fmla="*/ 439 h 462"/>
                <a:gd name="T68" fmla="*/ 527 w 661"/>
                <a:gd name="T69" fmla="*/ 439 h 462"/>
                <a:gd name="T70" fmla="*/ 525 w 661"/>
                <a:gd name="T71" fmla="*/ 445 h 462"/>
                <a:gd name="T72" fmla="*/ 522 w 661"/>
                <a:gd name="T73" fmla="*/ 449 h 462"/>
                <a:gd name="T74" fmla="*/ 519 w 661"/>
                <a:gd name="T75" fmla="*/ 453 h 462"/>
                <a:gd name="T76" fmla="*/ 515 w 661"/>
                <a:gd name="T77" fmla="*/ 456 h 462"/>
                <a:gd name="T78" fmla="*/ 510 w 661"/>
                <a:gd name="T79" fmla="*/ 458 h 462"/>
                <a:gd name="T80" fmla="*/ 506 w 661"/>
                <a:gd name="T81" fmla="*/ 460 h 462"/>
                <a:gd name="T82" fmla="*/ 501 w 661"/>
                <a:gd name="T83" fmla="*/ 461 h 462"/>
                <a:gd name="T84" fmla="*/ 496 w 661"/>
                <a:gd name="T85" fmla="*/ 462 h 462"/>
                <a:gd name="T86" fmla="*/ 496 w 661"/>
                <a:gd name="T87" fmla="*/ 462 h 462"/>
                <a:gd name="T88" fmla="*/ 189 w 661"/>
                <a:gd name="T89" fmla="*/ 396 h 462"/>
                <a:gd name="T90" fmla="*/ 472 w 661"/>
                <a:gd name="T91" fmla="*/ 396 h 462"/>
                <a:gd name="T92" fmla="*/ 582 w 661"/>
                <a:gd name="T93" fmla="*/ 65 h 462"/>
                <a:gd name="T94" fmla="*/ 79 w 661"/>
                <a:gd name="T95" fmla="*/ 65 h 462"/>
                <a:gd name="T96" fmla="*/ 189 w 661"/>
                <a:gd name="T97" fmla="*/ 39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1" h="462">
                  <a:moveTo>
                    <a:pt x="496" y="462"/>
                  </a:moveTo>
                  <a:lnTo>
                    <a:pt x="165" y="462"/>
                  </a:lnTo>
                  <a:lnTo>
                    <a:pt x="165" y="462"/>
                  </a:lnTo>
                  <a:lnTo>
                    <a:pt x="160" y="461"/>
                  </a:lnTo>
                  <a:lnTo>
                    <a:pt x="154" y="460"/>
                  </a:lnTo>
                  <a:lnTo>
                    <a:pt x="150" y="458"/>
                  </a:lnTo>
                  <a:lnTo>
                    <a:pt x="145" y="456"/>
                  </a:lnTo>
                  <a:lnTo>
                    <a:pt x="142" y="453"/>
                  </a:lnTo>
                  <a:lnTo>
                    <a:pt x="138" y="449"/>
                  </a:lnTo>
                  <a:lnTo>
                    <a:pt x="136" y="445"/>
                  </a:lnTo>
                  <a:lnTo>
                    <a:pt x="134" y="439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19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12" y="7"/>
                  </a:lnTo>
                  <a:lnTo>
                    <a:pt x="18" y="3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627" y="0"/>
                  </a:lnTo>
                  <a:lnTo>
                    <a:pt x="627" y="0"/>
                  </a:lnTo>
                  <a:lnTo>
                    <a:pt x="636" y="0"/>
                  </a:lnTo>
                  <a:lnTo>
                    <a:pt x="643" y="3"/>
                  </a:lnTo>
                  <a:lnTo>
                    <a:pt x="649" y="7"/>
                  </a:lnTo>
                  <a:lnTo>
                    <a:pt x="654" y="13"/>
                  </a:lnTo>
                  <a:lnTo>
                    <a:pt x="654" y="13"/>
                  </a:lnTo>
                  <a:lnTo>
                    <a:pt x="658" y="19"/>
                  </a:lnTo>
                  <a:lnTo>
                    <a:pt x="661" y="28"/>
                  </a:lnTo>
                  <a:lnTo>
                    <a:pt x="661" y="35"/>
                  </a:lnTo>
                  <a:lnTo>
                    <a:pt x="660" y="43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5" y="445"/>
                  </a:lnTo>
                  <a:lnTo>
                    <a:pt x="522" y="449"/>
                  </a:lnTo>
                  <a:lnTo>
                    <a:pt x="519" y="453"/>
                  </a:lnTo>
                  <a:lnTo>
                    <a:pt x="515" y="456"/>
                  </a:lnTo>
                  <a:lnTo>
                    <a:pt x="510" y="458"/>
                  </a:lnTo>
                  <a:lnTo>
                    <a:pt x="506" y="460"/>
                  </a:lnTo>
                  <a:lnTo>
                    <a:pt x="501" y="461"/>
                  </a:lnTo>
                  <a:lnTo>
                    <a:pt x="496" y="462"/>
                  </a:lnTo>
                  <a:lnTo>
                    <a:pt x="496" y="462"/>
                  </a:lnTo>
                  <a:close/>
                  <a:moveTo>
                    <a:pt x="189" y="396"/>
                  </a:moveTo>
                  <a:lnTo>
                    <a:pt x="472" y="396"/>
                  </a:lnTo>
                  <a:lnTo>
                    <a:pt x="582" y="65"/>
                  </a:lnTo>
                  <a:lnTo>
                    <a:pt x="79" y="65"/>
                  </a:lnTo>
                  <a:lnTo>
                    <a:pt x="189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19">
              <a:extLst>
                <a:ext uri="{FF2B5EF4-FFF2-40B4-BE49-F238E27FC236}">
                  <a16:creationId xmlns:a16="http://schemas.microsoft.com/office/drawing/2014/main" id="{E5CF6057-001D-4652-86FE-1AED4693CC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2825" y="1909763"/>
              <a:ext cx="123825" cy="139700"/>
            </a:xfrm>
            <a:custGeom>
              <a:avLst/>
              <a:gdLst>
                <a:gd name="T0" fmla="*/ 237 w 546"/>
                <a:gd name="T1" fmla="*/ 608 h 610"/>
                <a:gd name="T2" fmla="*/ 193 w 546"/>
                <a:gd name="T3" fmla="*/ 593 h 610"/>
                <a:gd name="T4" fmla="*/ 155 w 546"/>
                <a:gd name="T5" fmla="*/ 565 h 610"/>
                <a:gd name="T6" fmla="*/ 118 w 546"/>
                <a:gd name="T7" fmla="*/ 519 h 610"/>
                <a:gd name="T8" fmla="*/ 93 w 546"/>
                <a:gd name="T9" fmla="*/ 471 h 610"/>
                <a:gd name="T10" fmla="*/ 46 w 546"/>
                <a:gd name="T11" fmla="*/ 429 h 610"/>
                <a:gd name="T12" fmla="*/ 17 w 546"/>
                <a:gd name="T13" fmla="*/ 388 h 610"/>
                <a:gd name="T14" fmla="*/ 4 w 546"/>
                <a:gd name="T15" fmla="*/ 351 h 610"/>
                <a:gd name="T16" fmla="*/ 1 w 546"/>
                <a:gd name="T17" fmla="*/ 307 h 610"/>
                <a:gd name="T18" fmla="*/ 10 w 546"/>
                <a:gd name="T19" fmla="*/ 263 h 610"/>
                <a:gd name="T20" fmla="*/ 34 w 546"/>
                <a:gd name="T21" fmla="*/ 220 h 610"/>
                <a:gd name="T22" fmla="*/ 68 w 546"/>
                <a:gd name="T23" fmla="*/ 182 h 610"/>
                <a:gd name="T24" fmla="*/ 101 w 546"/>
                <a:gd name="T25" fmla="*/ 156 h 610"/>
                <a:gd name="T26" fmla="*/ 165 w 546"/>
                <a:gd name="T27" fmla="*/ 123 h 610"/>
                <a:gd name="T28" fmla="*/ 271 w 546"/>
                <a:gd name="T29" fmla="*/ 90 h 610"/>
                <a:gd name="T30" fmla="*/ 366 w 546"/>
                <a:gd name="T31" fmla="*/ 61 h 610"/>
                <a:gd name="T32" fmla="*/ 465 w 546"/>
                <a:gd name="T33" fmla="*/ 6 h 610"/>
                <a:gd name="T34" fmla="*/ 485 w 546"/>
                <a:gd name="T35" fmla="*/ 0 h 610"/>
                <a:gd name="T36" fmla="*/ 506 w 546"/>
                <a:gd name="T37" fmla="*/ 7 h 610"/>
                <a:gd name="T38" fmla="*/ 520 w 546"/>
                <a:gd name="T39" fmla="*/ 33 h 610"/>
                <a:gd name="T40" fmla="*/ 538 w 546"/>
                <a:gd name="T41" fmla="*/ 96 h 610"/>
                <a:gd name="T42" fmla="*/ 546 w 546"/>
                <a:gd name="T43" fmla="*/ 183 h 610"/>
                <a:gd name="T44" fmla="*/ 531 w 546"/>
                <a:gd name="T45" fmla="*/ 327 h 610"/>
                <a:gd name="T46" fmla="*/ 488 w 546"/>
                <a:gd name="T47" fmla="*/ 453 h 610"/>
                <a:gd name="T48" fmla="*/ 451 w 546"/>
                <a:gd name="T49" fmla="*/ 513 h 610"/>
                <a:gd name="T50" fmla="*/ 401 w 546"/>
                <a:gd name="T51" fmla="*/ 560 h 610"/>
                <a:gd name="T52" fmla="*/ 334 w 546"/>
                <a:gd name="T53" fmla="*/ 598 h 610"/>
                <a:gd name="T54" fmla="*/ 289 w 546"/>
                <a:gd name="T55" fmla="*/ 609 h 610"/>
                <a:gd name="T56" fmla="*/ 139 w 546"/>
                <a:gd name="T57" fmla="*/ 212 h 610"/>
                <a:gd name="T58" fmla="*/ 96 w 546"/>
                <a:gd name="T59" fmla="*/ 249 h 610"/>
                <a:gd name="T60" fmla="*/ 67 w 546"/>
                <a:gd name="T61" fmla="*/ 304 h 610"/>
                <a:gd name="T62" fmla="*/ 68 w 546"/>
                <a:gd name="T63" fmla="*/ 334 h 610"/>
                <a:gd name="T64" fmla="*/ 81 w 546"/>
                <a:gd name="T65" fmla="*/ 365 h 610"/>
                <a:gd name="T66" fmla="*/ 126 w 546"/>
                <a:gd name="T67" fmla="*/ 413 h 610"/>
                <a:gd name="T68" fmla="*/ 146 w 546"/>
                <a:gd name="T69" fmla="*/ 428 h 610"/>
                <a:gd name="T70" fmla="*/ 160 w 546"/>
                <a:gd name="T71" fmla="*/ 458 h 610"/>
                <a:gd name="T72" fmla="*/ 207 w 546"/>
                <a:gd name="T73" fmla="*/ 522 h 610"/>
                <a:gd name="T74" fmla="*/ 235 w 546"/>
                <a:gd name="T75" fmla="*/ 539 h 610"/>
                <a:gd name="T76" fmla="*/ 259 w 546"/>
                <a:gd name="T77" fmla="*/ 544 h 610"/>
                <a:gd name="T78" fmla="*/ 299 w 546"/>
                <a:gd name="T79" fmla="*/ 540 h 610"/>
                <a:gd name="T80" fmla="*/ 347 w 546"/>
                <a:gd name="T81" fmla="*/ 517 h 610"/>
                <a:gd name="T82" fmla="*/ 395 w 546"/>
                <a:gd name="T83" fmla="*/ 477 h 610"/>
                <a:gd name="T84" fmla="*/ 440 w 546"/>
                <a:gd name="T85" fmla="*/ 404 h 610"/>
                <a:gd name="T86" fmla="*/ 469 w 546"/>
                <a:gd name="T87" fmla="*/ 302 h 610"/>
                <a:gd name="T88" fmla="*/ 480 w 546"/>
                <a:gd name="T89" fmla="*/ 189 h 610"/>
                <a:gd name="T90" fmla="*/ 468 w 546"/>
                <a:gd name="T91" fmla="*/ 84 h 610"/>
                <a:gd name="T92" fmla="*/ 397 w 546"/>
                <a:gd name="T93" fmla="*/ 120 h 610"/>
                <a:gd name="T94" fmla="*/ 288 w 546"/>
                <a:gd name="T95" fmla="*/ 154 h 610"/>
                <a:gd name="T96" fmla="*/ 211 w 546"/>
                <a:gd name="T97" fmla="*/ 176 h 610"/>
                <a:gd name="T98" fmla="*/ 139 w 546"/>
                <a:gd name="T99" fmla="*/ 21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6" h="610">
                  <a:moveTo>
                    <a:pt x="266" y="610"/>
                  </a:moveTo>
                  <a:lnTo>
                    <a:pt x="266" y="610"/>
                  </a:lnTo>
                  <a:lnTo>
                    <a:pt x="251" y="610"/>
                  </a:lnTo>
                  <a:lnTo>
                    <a:pt x="237" y="608"/>
                  </a:lnTo>
                  <a:lnTo>
                    <a:pt x="237" y="608"/>
                  </a:lnTo>
                  <a:lnTo>
                    <a:pt x="220" y="604"/>
                  </a:lnTo>
                  <a:lnTo>
                    <a:pt x="203" y="597"/>
                  </a:lnTo>
                  <a:lnTo>
                    <a:pt x="193" y="593"/>
                  </a:lnTo>
                  <a:lnTo>
                    <a:pt x="184" y="587"/>
                  </a:lnTo>
                  <a:lnTo>
                    <a:pt x="175" y="580"/>
                  </a:lnTo>
                  <a:lnTo>
                    <a:pt x="164" y="573"/>
                  </a:lnTo>
                  <a:lnTo>
                    <a:pt x="155" y="565"/>
                  </a:lnTo>
                  <a:lnTo>
                    <a:pt x="146" y="556"/>
                  </a:lnTo>
                  <a:lnTo>
                    <a:pt x="136" y="544"/>
                  </a:lnTo>
                  <a:lnTo>
                    <a:pt x="127" y="533"/>
                  </a:lnTo>
                  <a:lnTo>
                    <a:pt x="118" y="519"/>
                  </a:lnTo>
                  <a:lnTo>
                    <a:pt x="110" y="504"/>
                  </a:lnTo>
                  <a:lnTo>
                    <a:pt x="101" y="488"/>
                  </a:lnTo>
                  <a:lnTo>
                    <a:pt x="93" y="471"/>
                  </a:lnTo>
                  <a:lnTo>
                    <a:pt x="93" y="471"/>
                  </a:lnTo>
                  <a:lnTo>
                    <a:pt x="80" y="460"/>
                  </a:lnTo>
                  <a:lnTo>
                    <a:pt x="67" y="450"/>
                  </a:lnTo>
                  <a:lnTo>
                    <a:pt x="56" y="440"/>
                  </a:lnTo>
                  <a:lnTo>
                    <a:pt x="46" y="429"/>
                  </a:lnTo>
                  <a:lnTo>
                    <a:pt x="37" y="419"/>
                  </a:lnTo>
                  <a:lnTo>
                    <a:pt x="30" y="409"/>
                  </a:lnTo>
                  <a:lnTo>
                    <a:pt x="24" y="398"/>
                  </a:lnTo>
                  <a:lnTo>
                    <a:pt x="17" y="388"/>
                  </a:lnTo>
                  <a:lnTo>
                    <a:pt x="13" y="379"/>
                  </a:lnTo>
                  <a:lnTo>
                    <a:pt x="9" y="369"/>
                  </a:lnTo>
                  <a:lnTo>
                    <a:pt x="6" y="360"/>
                  </a:lnTo>
                  <a:lnTo>
                    <a:pt x="4" y="351"/>
                  </a:lnTo>
                  <a:lnTo>
                    <a:pt x="1" y="333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1" y="307"/>
                  </a:lnTo>
                  <a:lnTo>
                    <a:pt x="2" y="296"/>
                  </a:lnTo>
                  <a:lnTo>
                    <a:pt x="4" y="284"/>
                  </a:lnTo>
                  <a:lnTo>
                    <a:pt x="7" y="274"/>
                  </a:lnTo>
                  <a:lnTo>
                    <a:pt x="10" y="263"/>
                  </a:lnTo>
                  <a:lnTo>
                    <a:pt x="15" y="252"/>
                  </a:lnTo>
                  <a:lnTo>
                    <a:pt x="21" y="241"/>
                  </a:lnTo>
                  <a:lnTo>
                    <a:pt x="27" y="231"/>
                  </a:lnTo>
                  <a:lnTo>
                    <a:pt x="34" y="220"/>
                  </a:lnTo>
                  <a:lnTo>
                    <a:pt x="41" y="211"/>
                  </a:lnTo>
                  <a:lnTo>
                    <a:pt x="50" y="201"/>
                  </a:lnTo>
                  <a:lnTo>
                    <a:pt x="59" y="191"/>
                  </a:lnTo>
                  <a:lnTo>
                    <a:pt x="68" y="182"/>
                  </a:lnTo>
                  <a:lnTo>
                    <a:pt x="79" y="174"/>
                  </a:lnTo>
                  <a:lnTo>
                    <a:pt x="90" y="164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23" y="144"/>
                  </a:lnTo>
                  <a:lnTo>
                    <a:pt x="144" y="132"/>
                  </a:lnTo>
                  <a:lnTo>
                    <a:pt x="165" y="123"/>
                  </a:lnTo>
                  <a:lnTo>
                    <a:pt x="186" y="115"/>
                  </a:lnTo>
                  <a:lnTo>
                    <a:pt x="208" y="107"/>
                  </a:lnTo>
                  <a:lnTo>
                    <a:pt x="229" y="101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318" y="77"/>
                  </a:lnTo>
                  <a:lnTo>
                    <a:pt x="341" y="69"/>
                  </a:lnTo>
                  <a:lnTo>
                    <a:pt x="366" y="61"/>
                  </a:lnTo>
                  <a:lnTo>
                    <a:pt x="390" y="51"/>
                  </a:lnTo>
                  <a:lnTo>
                    <a:pt x="415" y="38"/>
                  </a:lnTo>
                  <a:lnTo>
                    <a:pt x="440" y="24"/>
                  </a:lnTo>
                  <a:lnTo>
                    <a:pt x="465" y="6"/>
                  </a:lnTo>
                  <a:lnTo>
                    <a:pt x="465" y="6"/>
                  </a:lnTo>
                  <a:lnTo>
                    <a:pt x="471" y="3"/>
                  </a:lnTo>
                  <a:lnTo>
                    <a:pt x="478" y="1"/>
                  </a:lnTo>
                  <a:lnTo>
                    <a:pt x="485" y="0"/>
                  </a:lnTo>
                  <a:lnTo>
                    <a:pt x="492" y="1"/>
                  </a:lnTo>
                  <a:lnTo>
                    <a:pt x="492" y="1"/>
                  </a:lnTo>
                  <a:lnTo>
                    <a:pt x="500" y="3"/>
                  </a:lnTo>
                  <a:lnTo>
                    <a:pt x="506" y="7"/>
                  </a:lnTo>
                  <a:lnTo>
                    <a:pt x="511" y="12"/>
                  </a:lnTo>
                  <a:lnTo>
                    <a:pt x="514" y="19"/>
                  </a:lnTo>
                  <a:lnTo>
                    <a:pt x="514" y="19"/>
                  </a:lnTo>
                  <a:lnTo>
                    <a:pt x="520" y="33"/>
                  </a:lnTo>
                  <a:lnTo>
                    <a:pt x="526" y="49"/>
                  </a:lnTo>
                  <a:lnTo>
                    <a:pt x="531" y="63"/>
                  </a:lnTo>
                  <a:lnTo>
                    <a:pt x="535" y="80"/>
                  </a:lnTo>
                  <a:lnTo>
                    <a:pt x="538" y="96"/>
                  </a:lnTo>
                  <a:lnTo>
                    <a:pt x="541" y="113"/>
                  </a:lnTo>
                  <a:lnTo>
                    <a:pt x="543" y="129"/>
                  </a:lnTo>
                  <a:lnTo>
                    <a:pt x="545" y="147"/>
                  </a:lnTo>
                  <a:lnTo>
                    <a:pt x="546" y="183"/>
                  </a:lnTo>
                  <a:lnTo>
                    <a:pt x="545" y="218"/>
                  </a:lnTo>
                  <a:lnTo>
                    <a:pt x="543" y="255"/>
                  </a:lnTo>
                  <a:lnTo>
                    <a:pt x="538" y="291"/>
                  </a:lnTo>
                  <a:lnTo>
                    <a:pt x="531" y="327"/>
                  </a:lnTo>
                  <a:lnTo>
                    <a:pt x="522" y="361"/>
                  </a:lnTo>
                  <a:lnTo>
                    <a:pt x="513" y="394"/>
                  </a:lnTo>
                  <a:lnTo>
                    <a:pt x="502" y="425"/>
                  </a:lnTo>
                  <a:lnTo>
                    <a:pt x="488" y="453"/>
                  </a:lnTo>
                  <a:lnTo>
                    <a:pt x="475" y="480"/>
                  </a:lnTo>
                  <a:lnTo>
                    <a:pt x="468" y="491"/>
                  </a:lnTo>
                  <a:lnTo>
                    <a:pt x="459" y="503"/>
                  </a:lnTo>
                  <a:lnTo>
                    <a:pt x="451" y="513"/>
                  </a:lnTo>
                  <a:lnTo>
                    <a:pt x="443" y="522"/>
                  </a:lnTo>
                  <a:lnTo>
                    <a:pt x="443" y="522"/>
                  </a:lnTo>
                  <a:lnTo>
                    <a:pt x="422" y="542"/>
                  </a:lnTo>
                  <a:lnTo>
                    <a:pt x="401" y="560"/>
                  </a:lnTo>
                  <a:lnTo>
                    <a:pt x="379" y="575"/>
                  </a:lnTo>
                  <a:lnTo>
                    <a:pt x="357" y="588"/>
                  </a:lnTo>
                  <a:lnTo>
                    <a:pt x="346" y="593"/>
                  </a:lnTo>
                  <a:lnTo>
                    <a:pt x="334" y="598"/>
                  </a:lnTo>
                  <a:lnTo>
                    <a:pt x="323" y="601"/>
                  </a:lnTo>
                  <a:lnTo>
                    <a:pt x="311" y="605"/>
                  </a:lnTo>
                  <a:lnTo>
                    <a:pt x="300" y="607"/>
                  </a:lnTo>
                  <a:lnTo>
                    <a:pt x="289" y="609"/>
                  </a:lnTo>
                  <a:lnTo>
                    <a:pt x="277" y="610"/>
                  </a:lnTo>
                  <a:lnTo>
                    <a:pt x="266" y="610"/>
                  </a:lnTo>
                  <a:lnTo>
                    <a:pt x="266" y="610"/>
                  </a:lnTo>
                  <a:close/>
                  <a:moveTo>
                    <a:pt x="139" y="212"/>
                  </a:moveTo>
                  <a:lnTo>
                    <a:pt x="139" y="212"/>
                  </a:lnTo>
                  <a:lnTo>
                    <a:pt x="122" y="223"/>
                  </a:lnTo>
                  <a:lnTo>
                    <a:pt x="107" y="236"/>
                  </a:lnTo>
                  <a:lnTo>
                    <a:pt x="96" y="249"/>
                  </a:lnTo>
                  <a:lnTo>
                    <a:pt x="86" y="263"/>
                  </a:lnTo>
                  <a:lnTo>
                    <a:pt x="77" y="276"/>
                  </a:lnTo>
                  <a:lnTo>
                    <a:pt x="71" y="291"/>
                  </a:lnTo>
                  <a:lnTo>
                    <a:pt x="67" y="304"/>
                  </a:lnTo>
                  <a:lnTo>
                    <a:pt x="66" y="319"/>
                  </a:lnTo>
                  <a:lnTo>
                    <a:pt x="66" y="319"/>
                  </a:lnTo>
                  <a:lnTo>
                    <a:pt x="66" y="327"/>
                  </a:lnTo>
                  <a:lnTo>
                    <a:pt x="68" y="334"/>
                  </a:lnTo>
                  <a:lnTo>
                    <a:pt x="70" y="342"/>
                  </a:lnTo>
                  <a:lnTo>
                    <a:pt x="72" y="350"/>
                  </a:lnTo>
                  <a:lnTo>
                    <a:pt x="76" y="358"/>
                  </a:lnTo>
                  <a:lnTo>
                    <a:pt x="81" y="365"/>
                  </a:lnTo>
                  <a:lnTo>
                    <a:pt x="90" y="379"/>
                  </a:lnTo>
                  <a:lnTo>
                    <a:pt x="101" y="391"/>
                  </a:lnTo>
                  <a:lnTo>
                    <a:pt x="113" y="402"/>
                  </a:lnTo>
                  <a:lnTo>
                    <a:pt x="126" y="413"/>
                  </a:lnTo>
                  <a:lnTo>
                    <a:pt x="139" y="421"/>
                  </a:lnTo>
                  <a:lnTo>
                    <a:pt x="139" y="421"/>
                  </a:lnTo>
                  <a:lnTo>
                    <a:pt x="142" y="424"/>
                  </a:lnTo>
                  <a:lnTo>
                    <a:pt x="146" y="428"/>
                  </a:lnTo>
                  <a:lnTo>
                    <a:pt x="148" y="432"/>
                  </a:lnTo>
                  <a:lnTo>
                    <a:pt x="151" y="437"/>
                  </a:lnTo>
                  <a:lnTo>
                    <a:pt x="151" y="437"/>
                  </a:lnTo>
                  <a:lnTo>
                    <a:pt x="160" y="458"/>
                  </a:lnTo>
                  <a:lnTo>
                    <a:pt x="171" y="479"/>
                  </a:lnTo>
                  <a:lnTo>
                    <a:pt x="182" y="496"/>
                  </a:lnTo>
                  <a:lnTo>
                    <a:pt x="194" y="510"/>
                  </a:lnTo>
                  <a:lnTo>
                    <a:pt x="207" y="522"/>
                  </a:lnTo>
                  <a:lnTo>
                    <a:pt x="214" y="528"/>
                  </a:lnTo>
                  <a:lnTo>
                    <a:pt x="220" y="532"/>
                  </a:lnTo>
                  <a:lnTo>
                    <a:pt x="228" y="536"/>
                  </a:lnTo>
                  <a:lnTo>
                    <a:pt x="235" y="539"/>
                  </a:lnTo>
                  <a:lnTo>
                    <a:pt x="242" y="541"/>
                  </a:lnTo>
                  <a:lnTo>
                    <a:pt x="249" y="543"/>
                  </a:lnTo>
                  <a:lnTo>
                    <a:pt x="249" y="543"/>
                  </a:lnTo>
                  <a:lnTo>
                    <a:pt x="259" y="544"/>
                  </a:lnTo>
                  <a:lnTo>
                    <a:pt x="269" y="544"/>
                  </a:lnTo>
                  <a:lnTo>
                    <a:pt x="278" y="544"/>
                  </a:lnTo>
                  <a:lnTo>
                    <a:pt x="289" y="542"/>
                  </a:lnTo>
                  <a:lnTo>
                    <a:pt x="299" y="540"/>
                  </a:lnTo>
                  <a:lnTo>
                    <a:pt x="308" y="537"/>
                  </a:lnTo>
                  <a:lnTo>
                    <a:pt x="319" y="533"/>
                  </a:lnTo>
                  <a:lnTo>
                    <a:pt x="328" y="528"/>
                  </a:lnTo>
                  <a:lnTo>
                    <a:pt x="347" y="517"/>
                  </a:lnTo>
                  <a:lnTo>
                    <a:pt x="364" y="505"/>
                  </a:lnTo>
                  <a:lnTo>
                    <a:pt x="381" y="490"/>
                  </a:lnTo>
                  <a:lnTo>
                    <a:pt x="395" y="477"/>
                  </a:lnTo>
                  <a:lnTo>
                    <a:pt x="395" y="477"/>
                  </a:lnTo>
                  <a:lnTo>
                    <a:pt x="408" y="462"/>
                  </a:lnTo>
                  <a:lnTo>
                    <a:pt x="419" y="445"/>
                  </a:lnTo>
                  <a:lnTo>
                    <a:pt x="429" y="425"/>
                  </a:lnTo>
                  <a:lnTo>
                    <a:pt x="440" y="404"/>
                  </a:lnTo>
                  <a:lnTo>
                    <a:pt x="448" y="381"/>
                  </a:lnTo>
                  <a:lnTo>
                    <a:pt x="456" y="356"/>
                  </a:lnTo>
                  <a:lnTo>
                    <a:pt x="463" y="330"/>
                  </a:lnTo>
                  <a:lnTo>
                    <a:pt x="469" y="302"/>
                  </a:lnTo>
                  <a:lnTo>
                    <a:pt x="474" y="274"/>
                  </a:lnTo>
                  <a:lnTo>
                    <a:pt x="477" y="246"/>
                  </a:lnTo>
                  <a:lnTo>
                    <a:pt x="480" y="218"/>
                  </a:lnTo>
                  <a:lnTo>
                    <a:pt x="480" y="189"/>
                  </a:lnTo>
                  <a:lnTo>
                    <a:pt x="480" y="162"/>
                  </a:lnTo>
                  <a:lnTo>
                    <a:pt x="477" y="134"/>
                  </a:lnTo>
                  <a:lnTo>
                    <a:pt x="474" y="109"/>
                  </a:lnTo>
                  <a:lnTo>
                    <a:pt x="468" y="84"/>
                  </a:lnTo>
                  <a:lnTo>
                    <a:pt x="468" y="84"/>
                  </a:lnTo>
                  <a:lnTo>
                    <a:pt x="444" y="98"/>
                  </a:lnTo>
                  <a:lnTo>
                    <a:pt x="420" y="110"/>
                  </a:lnTo>
                  <a:lnTo>
                    <a:pt x="397" y="120"/>
                  </a:lnTo>
                  <a:lnTo>
                    <a:pt x="374" y="128"/>
                  </a:lnTo>
                  <a:lnTo>
                    <a:pt x="352" y="136"/>
                  </a:lnTo>
                  <a:lnTo>
                    <a:pt x="330" y="143"/>
                  </a:lnTo>
                  <a:lnTo>
                    <a:pt x="288" y="154"/>
                  </a:lnTo>
                  <a:lnTo>
                    <a:pt x="288" y="154"/>
                  </a:lnTo>
                  <a:lnTo>
                    <a:pt x="248" y="164"/>
                  </a:lnTo>
                  <a:lnTo>
                    <a:pt x="230" y="170"/>
                  </a:lnTo>
                  <a:lnTo>
                    <a:pt x="211" y="176"/>
                  </a:lnTo>
                  <a:lnTo>
                    <a:pt x="192" y="183"/>
                  </a:lnTo>
                  <a:lnTo>
                    <a:pt x="174" y="191"/>
                  </a:lnTo>
                  <a:lnTo>
                    <a:pt x="156" y="201"/>
                  </a:lnTo>
                  <a:lnTo>
                    <a:pt x="139" y="212"/>
                  </a:lnTo>
                  <a:lnTo>
                    <a:pt x="139" y="21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20">
              <a:extLst>
                <a:ext uri="{FF2B5EF4-FFF2-40B4-BE49-F238E27FC236}">
                  <a16:creationId xmlns:a16="http://schemas.microsoft.com/office/drawing/2014/main" id="{E4072075-1629-4D11-A232-7DAE53698D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4550" y="1825625"/>
              <a:ext cx="161925" cy="190500"/>
            </a:xfrm>
            <a:custGeom>
              <a:avLst/>
              <a:gdLst>
                <a:gd name="T0" fmla="*/ 320 w 718"/>
                <a:gd name="T1" fmla="*/ 840 h 842"/>
                <a:gd name="T2" fmla="*/ 262 w 718"/>
                <a:gd name="T3" fmla="*/ 822 h 842"/>
                <a:gd name="T4" fmla="*/ 203 w 718"/>
                <a:gd name="T5" fmla="*/ 787 h 842"/>
                <a:gd name="T6" fmla="*/ 145 w 718"/>
                <a:gd name="T7" fmla="*/ 735 h 842"/>
                <a:gd name="T8" fmla="*/ 105 w 718"/>
                <a:gd name="T9" fmla="*/ 690 h 842"/>
                <a:gd name="T10" fmla="*/ 67 w 718"/>
                <a:gd name="T11" fmla="*/ 625 h 842"/>
                <a:gd name="T12" fmla="*/ 37 w 718"/>
                <a:gd name="T13" fmla="*/ 547 h 842"/>
                <a:gd name="T14" fmla="*/ 15 w 718"/>
                <a:gd name="T15" fmla="*/ 456 h 842"/>
                <a:gd name="T16" fmla="*/ 3 w 718"/>
                <a:gd name="T17" fmla="*/ 359 h 842"/>
                <a:gd name="T18" fmla="*/ 1 w 718"/>
                <a:gd name="T19" fmla="*/ 261 h 842"/>
                <a:gd name="T20" fmla="*/ 10 w 718"/>
                <a:gd name="T21" fmla="*/ 166 h 842"/>
                <a:gd name="T22" fmla="*/ 32 w 718"/>
                <a:gd name="T23" fmla="*/ 77 h 842"/>
                <a:gd name="T24" fmla="*/ 57 w 718"/>
                <a:gd name="T25" fmla="*/ 18 h 842"/>
                <a:gd name="T26" fmla="*/ 80 w 718"/>
                <a:gd name="T27" fmla="*/ 1 h 842"/>
                <a:gd name="T28" fmla="*/ 101 w 718"/>
                <a:gd name="T29" fmla="*/ 5 h 842"/>
                <a:gd name="T30" fmla="*/ 138 w 718"/>
                <a:gd name="T31" fmla="*/ 31 h 842"/>
                <a:gd name="T32" fmla="*/ 202 w 718"/>
                <a:gd name="T33" fmla="*/ 70 h 842"/>
                <a:gd name="T34" fmla="*/ 333 w 718"/>
                <a:gd name="T35" fmla="*/ 119 h 842"/>
                <a:gd name="T36" fmla="*/ 439 w 718"/>
                <a:gd name="T37" fmla="*/ 152 h 842"/>
                <a:gd name="T38" fmla="*/ 523 w 718"/>
                <a:gd name="T39" fmla="*/ 188 h 842"/>
                <a:gd name="T40" fmla="*/ 585 w 718"/>
                <a:gd name="T41" fmla="*/ 228 h 842"/>
                <a:gd name="T42" fmla="*/ 627 w 718"/>
                <a:gd name="T43" fmla="*/ 269 h 842"/>
                <a:gd name="T44" fmla="*/ 664 w 718"/>
                <a:gd name="T45" fmla="*/ 317 h 842"/>
                <a:gd name="T46" fmla="*/ 698 w 718"/>
                <a:gd name="T47" fmla="*/ 380 h 842"/>
                <a:gd name="T48" fmla="*/ 715 w 718"/>
                <a:gd name="T49" fmla="*/ 440 h 842"/>
                <a:gd name="T50" fmla="*/ 716 w 718"/>
                <a:gd name="T51" fmla="*/ 498 h 842"/>
                <a:gd name="T52" fmla="*/ 705 w 718"/>
                <a:gd name="T53" fmla="*/ 537 h 842"/>
                <a:gd name="T54" fmla="*/ 678 w 718"/>
                <a:gd name="T55" fmla="*/ 585 h 842"/>
                <a:gd name="T56" fmla="*/ 635 w 718"/>
                <a:gd name="T57" fmla="*/ 628 h 842"/>
                <a:gd name="T58" fmla="*/ 577 w 718"/>
                <a:gd name="T59" fmla="*/ 667 h 842"/>
                <a:gd name="T60" fmla="*/ 534 w 718"/>
                <a:gd name="T61" fmla="*/ 701 h 842"/>
                <a:gd name="T62" fmla="*/ 498 w 718"/>
                <a:gd name="T63" fmla="*/ 760 h 842"/>
                <a:gd name="T64" fmla="*/ 455 w 718"/>
                <a:gd name="T65" fmla="*/ 802 h 842"/>
                <a:gd name="T66" fmla="*/ 409 w 718"/>
                <a:gd name="T67" fmla="*/ 830 h 842"/>
                <a:gd name="T68" fmla="*/ 371 w 718"/>
                <a:gd name="T69" fmla="*/ 840 h 842"/>
                <a:gd name="T70" fmla="*/ 99 w 718"/>
                <a:gd name="T71" fmla="*/ 85 h 842"/>
                <a:gd name="T72" fmla="*/ 83 w 718"/>
                <a:gd name="T73" fmla="*/ 138 h 842"/>
                <a:gd name="T74" fmla="*/ 68 w 718"/>
                <a:gd name="T75" fmla="*/ 235 h 842"/>
                <a:gd name="T76" fmla="*/ 72 w 718"/>
                <a:gd name="T77" fmla="*/ 399 h 842"/>
                <a:gd name="T78" fmla="*/ 107 w 718"/>
                <a:gd name="T79" fmla="*/ 550 h 842"/>
                <a:gd name="T80" fmla="*/ 142 w 718"/>
                <a:gd name="T81" fmla="*/ 625 h 842"/>
                <a:gd name="T82" fmla="*/ 165 w 718"/>
                <a:gd name="T83" fmla="*/ 661 h 842"/>
                <a:gd name="T84" fmla="*/ 217 w 718"/>
                <a:gd name="T85" fmla="*/ 713 h 842"/>
                <a:gd name="T86" fmla="*/ 269 w 718"/>
                <a:gd name="T87" fmla="*/ 751 h 842"/>
                <a:gd name="T88" fmla="*/ 317 w 718"/>
                <a:gd name="T89" fmla="*/ 771 h 842"/>
                <a:gd name="T90" fmla="*/ 362 w 718"/>
                <a:gd name="T91" fmla="*/ 774 h 842"/>
                <a:gd name="T92" fmla="*/ 388 w 718"/>
                <a:gd name="T93" fmla="*/ 767 h 842"/>
                <a:gd name="T94" fmla="*/ 422 w 718"/>
                <a:gd name="T95" fmla="*/ 744 h 842"/>
                <a:gd name="T96" fmla="*/ 460 w 718"/>
                <a:gd name="T97" fmla="*/ 698 h 842"/>
                <a:gd name="T98" fmla="*/ 490 w 718"/>
                <a:gd name="T99" fmla="*/ 640 h 842"/>
                <a:gd name="T100" fmla="*/ 505 w 718"/>
                <a:gd name="T101" fmla="*/ 628 h 842"/>
                <a:gd name="T102" fmla="*/ 594 w 718"/>
                <a:gd name="T103" fmla="*/ 577 h 842"/>
                <a:gd name="T104" fmla="*/ 627 w 718"/>
                <a:gd name="T105" fmla="*/ 543 h 842"/>
                <a:gd name="T106" fmla="*/ 646 w 718"/>
                <a:gd name="T107" fmla="*/ 506 h 842"/>
                <a:gd name="T108" fmla="*/ 652 w 718"/>
                <a:gd name="T109" fmla="*/ 472 h 842"/>
                <a:gd name="T110" fmla="*/ 643 w 718"/>
                <a:gd name="T111" fmla="*/ 423 h 842"/>
                <a:gd name="T112" fmla="*/ 622 w 718"/>
                <a:gd name="T113" fmla="*/ 374 h 842"/>
                <a:gd name="T114" fmla="*/ 576 w 718"/>
                <a:gd name="T115" fmla="*/ 312 h 842"/>
                <a:gd name="T116" fmla="*/ 542 w 718"/>
                <a:gd name="T117" fmla="*/ 279 h 842"/>
                <a:gd name="T118" fmla="*/ 489 w 718"/>
                <a:gd name="T119" fmla="*/ 245 h 842"/>
                <a:gd name="T120" fmla="*/ 381 w 718"/>
                <a:gd name="T121" fmla="*/ 203 h 842"/>
                <a:gd name="T122" fmla="*/ 255 w 718"/>
                <a:gd name="T123" fmla="*/ 164 h 842"/>
                <a:gd name="T124" fmla="*/ 130 w 718"/>
                <a:gd name="T125" fmla="*/ 106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18" h="842">
                  <a:moveTo>
                    <a:pt x="347" y="842"/>
                  </a:moveTo>
                  <a:lnTo>
                    <a:pt x="347" y="842"/>
                  </a:lnTo>
                  <a:lnTo>
                    <a:pt x="334" y="841"/>
                  </a:lnTo>
                  <a:lnTo>
                    <a:pt x="320" y="840"/>
                  </a:lnTo>
                  <a:lnTo>
                    <a:pt x="305" y="836"/>
                  </a:lnTo>
                  <a:lnTo>
                    <a:pt x="291" y="832"/>
                  </a:lnTo>
                  <a:lnTo>
                    <a:pt x="276" y="827"/>
                  </a:lnTo>
                  <a:lnTo>
                    <a:pt x="262" y="822"/>
                  </a:lnTo>
                  <a:lnTo>
                    <a:pt x="247" y="815"/>
                  </a:lnTo>
                  <a:lnTo>
                    <a:pt x="233" y="806"/>
                  </a:lnTo>
                  <a:lnTo>
                    <a:pt x="217" y="797"/>
                  </a:lnTo>
                  <a:lnTo>
                    <a:pt x="203" y="787"/>
                  </a:lnTo>
                  <a:lnTo>
                    <a:pt x="188" y="775"/>
                  </a:lnTo>
                  <a:lnTo>
                    <a:pt x="174" y="763"/>
                  </a:lnTo>
                  <a:lnTo>
                    <a:pt x="159" y="750"/>
                  </a:lnTo>
                  <a:lnTo>
                    <a:pt x="145" y="735"/>
                  </a:lnTo>
                  <a:lnTo>
                    <a:pt x="130" y="720"/>
                  </a:lnTo>
                  <a:lnTo>
                    <a:pt x="116" y="703"/>
                  </a:lnTo>
                  <a:lnTo>
                    <a:pt x="116" y="703"/>
                  </a:lnTo>
                  <a:lnTo>
                    <a:pt x="105" y="690"/>
                  </a:lnTo>
                  <a:lnTo>
                    <a:pt x="95" y="676"/>
                  </a:lnTo>
                  <a:lnTo>
                    <a:pt x="86" y="661"/>
                  </a:lnTo>
                  <a:lnTo>
                    <a:pt x="76" y="643"/>
                  </a:lnTo>
                  <a:lnTo>
                    <a:pt x="67" y="625"/>
                  </a:lnTo>
                  <a:lnTo>
                    <a:pt x="59" y="607"/>
                  </a:lnTo>
                  <a:lnTo>
                    <a:pt x="52" y="588"/>
                  </a:lnTo>
                  <a:lnTo>
                    <a:pt x="44" y="567"/>
                  </a:lnTo>
                  <a:lnTo>
                    <a:pt x="37" y="547"/>
                  </a:lnTo>
                  <a:lnTo>
                    <a:pt x="31" y="525"/>
                  </a:lnTo>
                  <a:lnTo>
                    <a:pt x="25" y="502"/>
                  </a:lnTo>
                  <a:lnTo>
                    <a:pt x="19" y="479"/>
                  </a:lnTo>
                  <a:lnTo>
                    <a:pt x="15" y="456"/>
                  </a:lnTo>
                  <a:lnTo>
                    <a:pt x="11" y="432"/>
                  </a:lnTo>
                  <a:lnTo>
                    <a:pt x="8" y="408"/>
                  </a:lnTo>
                  <a:lnTo>
                    <a:pt x="5" y="384"/>
                  </a:lnTo>
                  <a:lnTo>
                    <a:pt x="3" y="359"/>
                  </a:lnTo>
                  <a:lnTo>
                    <a:pt x="1" y="335"/>
                  </a:lnTo>
                  <a:lnTo>
                    <a:pt x="1" y="310"/>
                  </a:lnTo>
                  <a:lnTo>
                    <a:pt x="0" y="286"/>
                  </a:lnTo>
                  <a:lnTo>
                    <a:pt x="1" y="261"/>
                  </a:lnTo>
                  <a:lnTo>
                    <a:pt x="2" y="236"/>
                  </a:lnTo>
                  <a:lnTo>
                    <a:pt x="4" y="213"/>
                  </a:lnTo>
                  <a:lnTo>
                    <a:pt x="7" y="189"/>
                  </a:lnTo>
                  <a:lnTo>
                    <a:pt x="10" y="166"/>
                  </a:lnTo>
                  <a:lnTo>
                    <a:pt x="14" y="142"/>
                  </a:lnTo>
                  <a:lnTo>
                    <a:pt x="19" y="120"/>
                  </a:lnTo>
                  <a:lnTo>
                    <a:pt x="26" y="99"/>
                  </a:lnTo>
                  <a:lnTo>
                    <a:pt x="32" y="77"/>
                  </a:lnTo>
                  <a:lnTo>
                    <a:pt x="39" y="56"/>
                  </a:lnTo>
                  <a:lnTo>
                    <a:pt x="47" y="3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61" y="12"/>
                  </a:lnTo>
                  <a:lnTo>
                    <a:pt x="67" y="7"/>
                  </a:lnTo>
                  <a:lnTo>
                    <a:pt x="73" y="3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8" y="0"/>
                  </a:lnTo>
                  <a:lnTo>
                    <a:pt x="95" y="1"/>
                  </a:lnTo>
                  <a:lnTo>
                    <a:pt x="101" y="5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23" y="21"/>
                  </a:lnTo>
                  <a:lnTo>
                    <a:pt x="138" y="31"/>
                  </a:lnTo>
                  <a:lnTo>
                    <a:pt x="154" y="43"/>
                  </a:lnTo>
                  <a:lnTo>
                    <a:pt x="169" y="52"/>
                  </a:lnTo>
                  <a:lnTo>
                    <a:pt x="185" y="61"/>
                  </a:lnTo>
                  <a:lnTo>
                    <a:pt x="202" y="70"/>
                  </a:lnTo>
                  <a:lnTo>
                    <a:pt x="234" y="84"/>
                  </a:lnTo>
                  <a:lnTo>
                    <a:pt x="267" y="98"/>
                  </a:lnTo>
                  <a:lnTo>
                    <a:pt x="300" y="109"/>
                  </a:lnTo>
                  <a:lnTo>
                    <a:pt x="333" y="119"/>
                  </a:lnTo>
                  <a:lnTo>
                    <a:pt x="366" y="130"/>
                  </a:lnTo>
                  <a:lnTo>
                    <a:pt x="366" y="130"/>
                  </a:lnTo>
                  <a:lnTo>
                    <a:pt x="402" y="141"/>
                  </a:lnTo>
                  <a:lnTo>
                    <a:pt x="439" y="152"/>
                  </a:lnTo>
                  <a:lnTo>
                    <a:pt x="474" y="165"/>
                  </a:lnTo>
                  <a:lnTo>
                    <a:pt x="490" y="172"/>
                  </a:lnTo>
                  <a:lnTo>
                    <a:pt x="507" y="179"/>
                  </a:lnTo>
                  <a:lnTo>
                    <a:pt x="523" y="188"/>
                  </a:lnTo>
                  <a:lnTo>
                    <a:pt x="540" y="197"/>
                  </a:lnTo>
                  <a:lnTo>
                    <a:pt x="555" y="206"/>
                  </a:lnTo>
                  <a:lnTo>
                    <a:pt x="571" y="217"/>
                  </a:lnTo>
                  <a:lnTo>
                    <a:pt x="585" y="228"/>
                  </a:lnTo>
                  <a:lnTo>
                    <a:pt x="600" y="240"/>
                  </a:lnTo>
                  <a:lnTo>
                    <a:pt x="613" y="254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40" y="285"/>
                  </a:lnTo>
                  <a:lnTo>
                    <a:pt x="653" y="301"/>
                  </a:lnTo>
                  <a:lnTo>
                    <a:pt x="664" y="317"/>
                  </a:lnTo>
                  <a:lnTo>
                    <a:pt x="673" y="334"/>
                  </a:lnTo>
                  <a:lnTo>
                    <a:pt x="683" y="349"/>
                  </a:lnTo>
                  <a:lnTo>
                    <a:pt x="691" y="365"/>
                  </a:lnTo>
                  <a:lnTo>
                    <a:pt x="698" y="380"/>
                  </a:lnTo>
                  <a:lnTo>
                    <a:pt x="705" y="396"/>
                  </a:lnTo>
                  <a:lnTo>
                    <a:pt x="709" y="410"/>
                  </a:lnTo>
                  <a:lnTo>
                    <a:pt x="713" y="426"/>
                  </a:lnTo>
                  <a:lnTo>
                    <a:pt x="715" y="440"/>
                  </a:lnTo>
                  <a:lnTo>
                    <a:pt x="717" y="455"/>
                  </a:lnTo>
                  <a:lnTo>
                    <a:pt x="718" y="469"/>
                  </a:lnTo>
                  <a:lnTo>
                    <a:pt x="717" y="484"/>
                  </a:lnTo>
                  <a:lnTo>
                    <a:pt x="716" y="498"/>
                  </a:lnTo>
                  <a:lnTo>
                    <a:pt x="713" y="512"/>
                  </a:lnTo>
                  <a:lnTo>
                    <a:pt x="713" y="512"/>
                  </a:lnTo>
                  <a:lnTo>
                    <a:pt x="710" y="525"/>
                  </a:lnTo>
                  <a:lnTo>
                    <a:pt x="705" y="537"/>
                  </a:lnTo>
                  <a:lnTo>
                    <a:pt x="699" y="550"/>
                  </a:lnTo>
                  <a:lnTo>
                    <a:pt x="693" y="562"/>
                  </a:lnTo>
                  <a:lnTo>
                    <a:pt x="686" y="574"/>
                  </a:lnTo>
                  <a:lnTo>
                    <a:pt x="678" y="585"/>
                  </a:lnTo>
                  <a:lnTo>
                    <a:pt x="668" y="596"/>
                  </a:lnTo>
                  <a:lnTo>
                    <a:pt x="658" y="608"/>
                  </a:lnTo>
                  <a:lnTo>
                    <a:pt x="647" y="618"/>
                  </a:lnTo>
                  <a:lnTo>
                    <a:pt x="635" y="628"/>
                  </a:lnTo>
                  <a:lnTo>
                    <a:pt x="622" y="639"/>
                  </a:lnTo>
                  <a:lnTo>
                    <a:pt x="608" y="648"/>
                  </a:lnTo>
                  <a:lnTo>
                    <a:pt x="593" y="657"/>
                  </a:lnTo>
                  <a:lnTo>
                    <a:pt x="577" y="667"/>
                  </a:lnTo>
                  <a:lnTo>
                    <a:pt x="561" y="675"/>
                  </a:lnTo>
                  <a:lnTo>
                    <a:pt x="543" y="684"/>
                  </a:lnTo>
                  <a:lnTo>
                    <a:pt x="543" y="684"/>
                  </a:lnTo>
                  <a:lnTo>
                    <a:pt x="534" y="701"/>
                  </a:lnTo>
                  <a:lnTo>
                    <a:pt x="525" y="717"/>
                  </a:lnTo>
                  <a:lnTo>
                    <a:pt x="516" y="732"/>
                  </a:lnTo>
                  <a:lnTo>
                    <a:pt x="507" y="746"/>
                  </a:lnTo>
                  <a:lnTo>
                    <a:pt x="498" y="760"/>
                  </a:lnTo>
                  <a:lnTo>
                    <a:pt x="487" y="772"/>
                  </a:lnTo>
                  <a:lnTo>
                    <a:pt x="477" y="783"/>
                  </a:lnTo>
                  <a:lnTo>
                    <a:pt x="466" y="793"/>
                  </a:lnTo>
                  <a:lnTo>
                    <a:pt x="455" y="802"/>
                  </a:lnTo>
                  <a:lnTo>
                    <a:pt x="444" y="811"/>
                  </a:lnTo>
                  <a:lnTo>
                    <a:pt x="432" y="818"/>
                  </a:lnTo>
                  <a:lnTo>
                    <a:pt x="421" y="824"/>
                  </a:lnTo>
                  <a:lnTo>
                    <a:pt x="409" y="830"/>
                  </a:lnTo>
                  <a:lnTo>
                    <a:pt x="396" y="834"/>
                  </a:lnTo>
                  <a:lnTo>
                    <a:pt x="384" y="837"/>
                  </a:lnTo>
                  <a:lnTo>
                    <a:pt x="371" y="840"/>
                  </a:lnTo>
                  <a:lnTo>
                    <a:pt x="371" y="840"/>
                  </a:lnTo>
                  <a:lnTo>
                    <a:pt x="359" y="842"/>
                  </a:lnTo>
                  <a:lnTo>
                    <a:pt x="347" y="842"/>
                  </a:lnTo>
                  <a:lnTo>
                    <a:pt x="347" y="842"/>
                  </a:lnTo>
                  <a:close/>
                  <a:moveTo>
                    <a:pt x="99" y="85"/>
                  </a:moveTo>
                  <a:lnTo>
                    <a:pt x="99" y="85"/>
                  </a:lnTo>
                  <a:lnTo>
                    <a:pt x="93" y="102"/>
                  </a:lnTo>
                  <a:lnTo>
                    <a:pt x="88" y="119"/>
                  </a:lnTo>
                  <a:lnTo>
                    <a:pt x="83" y="138"/>
                  </a:lnTo>
                  <a:lnTo>
                    <a:pt x="78" y="157"/>
                  </a:lnTo>
                  <a:lnTo>
                    <a:pt x="75" y="175"/>
                  </a:lnTo>
                  <a:lnTo>
                    <a:pt x="72" y="195"/>
                  </a:lnTo>
                  <a:lnTo>
                    <a:pt x="68" y="235"/>
                  </a:lnTo>
                  <a:lnTo>
                    <a:pt x="66" y="276"/>
                  </a:lnTo>
                  <a:lnTo>
                    <a:pt x="66" y="317"/>
                  </a:lnTo>
                  <a:lnTo>
                    <a:pt x="68" y="358"/>
                  </a:lnTo>
                  <a:lnTo>
                    <a:pt x="72" y="399"/>
                  </a:lnTo>
                  <a:lnTo>
                    <a:pt x="78" y="439"/>
                  </a:lnTo>
                  <a:lnTo>
                    <a:pt x="87" y="477"/>
                  </a:lnTo>
                  <a:lnTo>
                    <a:pt x="96" y="515"/>
                  </a:lnTo>
                  <a:lnTo>
                    <a:pt x="107" y="550"/>
                  </a:lnTo>
                  <a:lnTo>
                    <a:pt x="120" y="582"/>
                  </a:lnTo>
                  <a:lnTo>
                    <a:pt x="126" y="597"/>
                  </a:lnTo>
                  <a:lnTo>
                    <a:pt x="133" y="612"/>
                  </a:lnTo>
                  <a:lnTo>
                    <a:pt x="142" y="625"/>
                  </a:lnTo>
                  <a:lnTo>
                    <a:pt x="149" y="638"/>
                  </a:lnTo>
                  <a:lnTo>
                    <a:pt x="157" y="649"/>
                  </a:lnTo>
                  <a:lnTo>
                    <a:pt x="165" y="661"/>
                  </a:lnTo>
                  <a:lnTo>
                    <a:pt x="165" y="661"/>
                  </a:lnTo>
                  <a:lnTo>
                    <a:pt x="179" y="675"/>
                  </a:lnTo>
                  <a:lnTo>
                    <a:pt x="191" y="688"/>
                  </a:lnTo>
                  <a:lnTo>
                    <a:pt x="205" y="701"/>
                  </a:lnTo>
                  <a:lnTo>
                    <a:pt x="217" y="713"/>
                  </a:lnTo>
                  <a:lnTo>
                    <a:pt x="231" y="724"/>
                  </a:lnTo>
                  <a:lnTo>
                    <a:pt x="243" y="734"/>
                  </a:lnTo>
                  <a:lnTo>
                    <a:pt x="256" y="742"/>
                  </a:lnTo>
                  <a:lnTo>
                    <a:pt x="269" y="751"/>
                  </a:lnTo>
                  <a:lnTo>
                    <a:pt x="281" y="757"/>
                  </a:lnTo>
                  <a:lnTo>
                    <a:pt x="294" y="763"/>
                  </a:lnTo>
                  <a:lnTo>
                    <a:pt x="305" y="767"/>
                  </a:lnTo>
                  <a:lnTo>
                    <a:pt x="317" y="771"/>
                  </a:lnTo>
                  <a:lnTo>
                    <a:pt x="329" y="773"/>
                  </a:lnTo>
                  <a:lnTo>
                    <a:pt x="340" y="775"/>
                  </a:lnTo>
                  <a:lnTo>
                    <a:pt x="351" y="775"/>
                  </a:lnTo>
                  <a:lnTo>
                    <a:pt x="362" y="774"/>
                  </a:lnTo>
                  <a:lnTo>
                    <a:pt x="362" y="774"/>
                  </a:lnTo>
                  <a:lnTo>
                    <a:pt x="370" y="772"/>
                  </a:lnTo>
                  <a:lnTo>
                    <a:pt x="380" y="770"/>
                  </a:lnTo>
                  <a:lnTo>
                    <a:pt x="388" y="767"/>
                  </a:lnTo>
                  <a:lnTo>
                    <a:pt x="397" y="762"/>
                  </a:lnTo>
                  <a:lnTo>
                    <a:pt x="405" y="758"/>
                  </a:lnTo>
                  <a:lnTo>
                    <a:pt x="414" y="752"/>
                  </a:lnTo>
                  <a:lnTo>
                    <a:pt x="422" y="744"/>
                  </a:lnTo>
                  <a:lnTo>
                    <a:pt x="429" y="737"/>
                  </a:lnTo>
                  <a:lnTo>
                    <a:pt x="438" y="729"/>
                  </a:lnTo>
                  <a:lnTo>
                    <a:pt x="445" y="718"/>
                  </a:lnTo>
                  <a:lnTo>
                    <a:pt x="460" y="698"/>
                  </a:lnTo>
                  <a:lnTo>
                    <a:pt x="474" y="673"/>
                  </a:lnTo>
                  <a:lnTo>
                    <a:pt x="488" y="645"/>
                  </a:lnTo>
                  <a:lnTo>
                    <a:pt x="488" y="645"/>
                  </a:lnTo>
                  <a:lnTo>
                    <a:pt x="490" y="640"/>
                  </a:lnTo>
                  <a:lnTo>
                    <a:pt x="494" y="636"/>
                  </a:lnTo>
                  <a:lnTo>
                    <a:pt x="500" y="632"/>
                  </a:lnTo>
                  <a:lnTo>
                    <a:pt x="505" y="628"/>
                  </a:lnTo>
                  <a:lnTo>
                    <a:pt x="505" y="628"/>
                  </a:lnTo>
                  <a:lnTo>
                    <a:pt x="535" y="615"/>
                  </a:lnTo>
                  <a:lnTo>
                    <a:pt x="561" y="599"/>
                  </a:lnTo>
                  <a:lnTo>
                    <a:pt x="583" y="584"/>
                  </a:lnTo>
                  <a:lnTo>
                    <a:pt x="594" y="577"/>
                  </a:lnTo>
                  <a:lnTo>
                    <a:pt x="603" y="568"/>
                  </a:lnTo>
                  <a:lnTo>
                    <a:pt x="612" y="560"/>
                  </a:lnTo>
                  <a:lnTo>
                    <a:pt x="620" y="551"/>
                  </a:lnTo>
                  <a:lnTo>
                    <a:pt x="627" y="543"/>
                  </a:lnTo>
                  <a:lnTo>
                    <a:pt x="633" y="533"/>
                  </a:lnTo>
                  <a:lnTo>
                    <a:pt x="638" y="525"/>
                  </a:lnTo>
                  <a:lnTo>
                    <a:pt x="642" y="516"/>
                  </a:lnTo>
                  <a:lnTo>
                    <a:pt x="646" y="506"/>
                  </a:lnTo>
                  <a:lnTo>
                    <a:pt x="649" y="497"/>
                  </a:lnTo>
                  <a:lnTo>
                    <a:pt x="649" y="497"/>
                  </a:lnTo>
                  <a:lnTo>
                    <a:pt x="651" y="485"/>
                  </a:lnTo>
                  <a:lnTo>
                    <a:pt x="652" y="472"/>
                  </a:lnTo>
                  <a:lnTo>
                    <a:pt x="651" y="460"/>
                  </a:lnTo>
                  <a:lnTo>
                    <a:pt x="650" y="447"/>
                  </a:lnTo>
                  <a:lnTo>
                    <a:pt x="647" y="435"/>
                  </a:lnTo>
                  <a:lnTo>
                    <a:pt x="643" y="423"/>
                  </a:lnTo>
                  <a:lnTo>
                    <a:pt x="638" y="410"/>
                  </a:lnTo>
                  <a:lnTo>
                    <a:pt x="633" y="398"/>
                  </a:lnTo>
                  <a:lnTo>
                    <a:pt x="628" y="386"/>
                  </a:lnTo>
                  <a:lnTo>
                    <a:pt x="622" y="374"/>
                  </a:lnTo>
                  <a:lnTo>
                    <a:pt x="607" y="352"/>
                  </a:lnTo>
                  <a:lnTo>
                    <a:pt x="592" y="330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66" y="299"/>
                  </a:lnTo>
                  <a:lnTo>
                    <a:pt x="554" y="289"/>
                  </a:lnTo>
                  <a:lnTo>
                    <a:pt x="542" y="279"/>
                  </a:lnTo>
                  <a:lnTo>
                    <a:pt x="530" y="269"/>
                  </a:lnTo>
                  <a:lnTo>
                    <a:pt x="517" y="260"/>
                  </a:lnTo>
                  <a:lnTo>
                    <a:pt x="504" y="252"/>
                  </a:lnTo>
                  <a:lnTo>
                    <a:pt x="489" y="245"/>
                  </a:lnTo>
                  <a:lnTo>
                    <a:pt x="475" y="237"/>
                  </a:lnTo>
                  <a:lnTo>
                    <a:pt x="445" y="225"/>
                  </a:lnTo>
                  <a:lnTo>
                    <a:pt x="414" y="214"/>
                  </a:lnTo>
                  <a:lnTo>
                    <a:pt x="381" y="203"/>
                  </a:lnTo>
                  <a:lnTo>
                    <a:pt x="346" y="193"/>
                  </a:lnTo>
                  <a:lnTo>
                    <a:pt x="346" y="193"/>
                  </a:lnTo>
                  <a:lnTo>
                    <a:pt x="286" y="174"/>
                  </a:lnTo>
                  <a:lnTo>
                    <a:pt x="255" y="164"/>
                  </a:lnTo>
                  <a:lnTo>
                    <a:pt x="224" y="151"/>
                  </a:lnTo>
                  <a:lnTo>
                    <a:pt x="192" y="138"/>
                  </a:lnTo>
                  <a:lnTo>
                    <a:pt x="161" y="124"/>
                  </a:lnTo>
                  <a:lnTo>
                    <a:pt x="130" y="106"/>
                  </a:lnTo>
                  <a:lnTo>
                    <a:pt x="115" y="96"/>
                  </a:lnTo>
                  <a:lnTo>
                    <a:pt x="99" y="85"/>
                  </a:lnTo>
                  <a:lnTo>
                    <a:pt x="99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21">
              <a:extLst>
                <a:ext uri="{FF2B5EF4-FFF2-40B4-BE49-F238E27FC236}">
                  <a16:creationId xmlns:a16="http://schemas.microsoft.com/office/drawing/2014/main" id="{77430B2B-2472-412E-948A-82BF69EC9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0588" y="1887538"/>
              <a:ext cx="200025" cy="192088"/>
            </a:xfrm>
            <a:custGeom>
              <a:avLst/>
              <a:gdLst>
                <a:gd name="T0" fmla="*/ 504 w 879"/>
                <a:gd name="T1" fmla="*/ 849 h 849"/>
                <a:gd name="T2" fmla="*/ 493 w 879"/>
                <a:gd name="T3" fmla="*/ 847 h 849"/>
                <a:gd name="T4" fmla="*/ 481 w 879"/>
                <a:gd name="T5" fmla="*/ 838 h 849"/>
                <a:gd name="T6" fmla="*/ 475 w 879"/>
                <a:gd name="T7" fmla="*/ 823 h 849"/>
                <a:gd name="T8" fmla="*/ 462 w 879"/>
                <a:gd name="T9" fmla="*/ 780 h 849"/>
                <a:gd name="T10" fmla="*/ 424 w 879"/>
                <a:gd name="T11" fmla="*/ 666 h 849"/>
                <a:gd name="T12" fmla="*/ 365 w 879"/>
                <a:gd name="T13" fmla="*/ 533 h 849"/>
                <a:gd name="T14" fmla="*/ 317 w 879"/>
                <a:gd name="T15" fmla="*/ 443 h 849"/>
                <a:gd name="T16" fmla="*/ 259 w 879"/>
                <a:gd name="T17" fmla="*/ 348 h 849"/>
                <a:gd name="T18" fmla="*/ 189 w 879"/>
                <a:gd name="T19" fmla="*/ 250 h 849"/>
                <a:gd name="T20" fmla="*/ 106 w 879"/>
                <a:gd name="T21" fmla="*/ 153 h 849"/>
                <a:gd name="T22" fmla="*/ 11 w 879"/>
                <a:gd name="T23" fmla="*/ 57 h 849"/>
                <a:gd name="T24" fmla="*/ 3 w 879"/>
                <a:gd name="T25" fmla="*/ 47 h 849"/>
                <a:gd name="T26" fmla="*/ 0 w 879"/>
                <a:gd name="T27" fmla="*/ 28 h 849"/>
                <a:gd name="T28" fmla="*/ 8 w 879"/>
                <a:gd name="T29" fmla="*/ 11 h 849"/>
                <a:gd name="T30" fmla="*/ 19 w 879"/>
                <a:gd name="T31" fmla="*/ 4 h 849"/>
                <a:gd name="T32" fmla="*/ 38 w 879"/>
                <a:gd name="T33" fmla="*/ 0 h 849"/>
                <a:gd name="T34" fmla="*/ 56 w 879"/>
                <a:gd name="T35" fmla="*/ 9 h 849"/>
                <a:gd name="T36" fmla="*/ 106 w 879"/>
                <a:gd name="T37" fmla="*/ 56 h 849"/>
                <a:gd name="T38" fmla="*/ 177 w 879"/>
                <a:gd name="T39" fmla="*/ 131 h 849"/>
                <a:gd name="T40" fmla="*/ 240 w 879"/>
                <a:gd name="T41" fmla="*/ 206 h 849"/>
                <a:gd name="T42" fmla="*/ 343 w 879"/>
                <a:gd name="T43" fmla="*/ 355 h 849"/>
                <a:gd name="T44" fmla="*/ 422 w 879"/>
                <a:gd name="T45" fmla="*/ 497 h 849"/>
                <a:gd name="T46" fmla="*/ 478 w 879"/>
                <a:gd name="T47" fmla="*/ 621 h 849"/>
                <a:gd name="T48" fmla="*/ 514 w 879"/>
                <a:gd name="T49" fmla="*/ 721 h 849"/>
                <a:gd name="T50" fmla="*/ 549 w 879"/>
                <a:gd name="T51" fmla="*/ 657 h 849"/>
                <a:gd name="T52" fmla="*/ 595 w 879"/>
                <a:gd name="T53" fmla="*/ 586 h 849"/>
                <a:gd name="T54" fmla="*/ 653 w 879"/>
                <a:gd name="T55" fmla="*/ 514 h 849"/>
                <a:gd name="T56" fmla="*/ 722 w 879"/>
                <a:gd name="T57" fmla="*/ 445 h 849"/>
                <a:gd name="T58" fmla="*/ 803 w 879"/>
                <a:gd name="T59" fmla="*/ 387 h 849"/>
                <a:gd name="T60" fmla="*/ 838 w 879"/>
                <a:gd name="T61" fmla="*/ 369 h 849"/>
                <a:gd name="T62" fmla="*/ 858 w 879"/>
                <a:gd name="T63" fmla="*/ 369 h 849"/>
                <a:gd name="T64" fmla="*/ 873 w 879"/>
                <a:gd name="T65" fmla="*/ 380 h 849"/>
                <a:gd name="T66" fmla="*/ 878 w 879"/>
                <a:gd name="T67" fmla="*/ 392 h 849"/>
                <a:gd name="T68" fmla="*/ 878 w 879"/>
                <a:gd name="T69" fmla="*/ 411 h 849"/>
                <a:gd name="T70" fmla="*/ 867 w 879"/>
                <a:gd name="T71" fmla="*/ 427 h 849"/>
                <a:gd name="T72" fmla="*/ 842 w 879"/>
                <a:gd name="T73" fmla="*/ 440 h 849"/>
                <a:gd name="T74" fmla="*/ 786 w 879"/>
                <a:gd name="T75" fmla="*/ 477 h 849"/>
                <a:gd name="T76" fmla="*/ 737 w 879"/>
                <a:gd name="T77" fmla="*/ 521 h 849"/>
                <a:gd name="T78" fmla="*/ 692 w 879"/>
                <a:gd name="T79" fmla="*/ 569 h 849"/>
                <a:gd name="T80" fmla="*/ 621 w 879"/>
                <a:gd name="T81" fmla="*/ 668 h 849"/>
                <a:gd name="T82" fmla="*/ 570 w 879"/>
                <a:gd name="T83" fmla="*/ 756 h 849"/>
                <a:gd name="T84" fmla="*/ 538 w 879"/>
                <a:gd name="T85" fmla="*/ 828 h 849"/>
                <a:gd name="T86" fmla="*/ 533 w 879"/>
                <a:gd name="T87" fmla="*/ 836 h 849"/>
                <a:gd name="T88" fmla="*/ 521 w 879"/>
                <a:gd name="T89" fmla="*/ 846 h 849"/>
                <a:gd name="T90" fmla="*/ 507 w 879"/>
                <a:gd name="T91" fmla="*/ 849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79" h="849">
                  <a:moveTo>
                    <a:pt x="507" y="849"/>
                  </a:moveTo>
                  <a:lnTo>
                    <a:pt x="507" y="849"/>
                  </a:lnTo>
                  <a:lnTo>
                    <a:pt x="504" y="849"/>
                  </a:lnTo>
                  <a:lnTo>
                    <a:pt x="504" y="849"/>
                  </a:lnTo>
                  <a:lnTo>
                    <a:pt x="499" y="849"/>
                  </a:lnTo>
                  <a:lnTo>
                    <a:pt x="493" y="847"/>
                  </a:lnTo>
                  <a:lnTo>
                    <a:pt x="489" y="845"/>
                  </a:lnTo>
                  <a:lnTo>
                    <a:pt x="485" y="842"/>
                  </a:lnTo>
                  <a:lnTo>
                    <a:pt x="481" y="838"/>
                  </a:lnTo>
                  <a:lnTo>
                    <a:pt x="478" y="833"/>
                  </a:lnTo>
                  <a:lnTo>
                    <a:pt x="476" y="828"/>
                  </a:lnTo>
                  <a:lnTo>
                    <a:pt x="475" y="823"/>
                  </a:lnTo>
                  <a:lnTo>
                    <a:pt x="475" y="823"/>
                  </a:lnTo>
                  <a:lnTo>
                    <a:pt x="470" y="802"/>
                  </a:lnTo>
                  <a:lnTo>
                    <a:pt x="462" y="780"/>
                  </a:lnTo>
                  <a:lnTo>
                    <a:pt x="453" y="748"/>
                  </a:lnTo>
                  <a:lnTo>
                    <a:pt x="440" y="710"/>
                  </a:lnTo>
                  <a:lnTo>
                    <a:pt x="424" y="666"/>
                  </a:lnTo>
                  <a:lnTo>
                    <a:pt x="403" y="616"/>
                  </a:lnTo>
                  <a:lnTo>
                    <a:pt x="380" y="562"/>
                  </a:lnTo>
                  <a:lnTo>
                    <a:pt x="365" y="533"/>
                  </a:lnTo>
                  <a:lnTo>
                    <a:pt x="351" y="504"/>
                  </a:lnTo>
                  <a:lnTo>
                    <a:pt x="335" y="474"/>
                  </a:lnTo>
                  <a:lnTo>
                    <a:pt x="317" y="443"/>
                  </a:lnTo>
                  <a:lnTo>
                    <a:pt x="300" y="411"/>
                  </a:lnTo>
                  <a:lnTo>
                    <a:pt x="280" y="380"/>
                  </a:lnTo>
                  <a:lnTo>
                    <a:pt x="259" y="348"/>
                  </a:lnTo>
                  <a:lnTo>
                    <a:pt x="237" y="315"/>
                  </a:lnTo>
                  <a:lnTo>
                    <a:pt x="214" y="283"/>
                  </a:lnTo>
                  <a:lnTo>
                    <a:pt x="189" y="250"/>
                  </a:lnTo>
                  <a:lnTo>
                    <a:pt x="163" y="217"/>
                  </a:lnTo>
                  <a:lnTo>
                    <a:pt x="135" y="185"/>
                  </a:lnTo>
                  <a:lnTo>
                    <a:pt x="106" y="153"/>
                  </a:lnTo>
                  <a:lnTo>
                    <a:pt x="76" y="120"/>
                  </a:lnTo>
                  <a:lnTo>
                    <a:pt x="44" y="88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6" y="52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5" y="16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3" y="7"/>
                  </a:lnTo>
                  <a:lnTo>
                    <a:pt x="19" y="4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4" y="1"/>
                  </a:lnTo>
                  <a:lnTo>
                    <a:pt x="49" y="5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81" y="33"/>
                  </a:lnTo>
                  <a:lnTo>
                    <a:pt x="106" y="56"/>
                  </a:lnTo>
                  <a:lnTo>
                    <a:pt x="131" y="81"/>
                  </a:lnTo>
                  <a:lnTo>
                    <a:pt x="154" y="106"/>
                  </a:lnTo>
                  <a:lnTo>
                    <a:pt x="177" y="131"/>
                  </a:lnTo>
                  <a:lnTo>
                    <a:pt x="198" y="156"/>
                  </a:lnTo>
                  <a:lnTo>
                    <a:pt x="219" y="182"/>
                  </a:lnTo>
                  <a:lnTo>
                    <a:pt x="240" y="206"/>
                  </a:lnTo>
                  <a:lnTo>
                    <a:pt x="277" y="256"/>
                  </a:lnTo>
                  <a:lnTo>
                    <a:pt x="312" y="307"/>
                  </a:lnTo>
                  <a:lnTo>
                    <a:pt x="343" y="355"/>
                  </a:lnTo>
                  <a:lnTo>
                    <a:pt x="372" y="404"/>
                  </a:lnTo>
                  <a:lnTo>
                    <a:pt x="399" y="452"/>
                  </a:lnTo>
                  <a:lnTo>
                    <a:pt x="422" y="497"/>
                  </a:lnTo>
                  <a:lnTo>
                    <a:pt x="443" y="541"/>
                  </a:lnTo>
                  <a:lnTo>
                    <a:pt x="461" y="582"/>
                  </a:lnTo>
                  <a:lnTo>
                    <a:pt x="478" y="621"/>
                  </a:lnTo>
                  <a:lnTo>
                    <a:pt x="492" y="657"/>
                  </a:lnTo>
                  <a:lnTo>
                    <a:pt x="504" y="691"/>
                  </a:lnTo>
                  <a:lnTo>
                    <a:pt x="514" y="721"/>
                  </a:lnTo>
                  <a:lnTo>
                    <a:pt x="514" y="721"/>
                  </a:lnTo>
                  <a:lnTo>
                    <a:pt x="536" y="679"/>
                  </a:lnTo>
                  <a:lnTo>
                    <a:pt x="549" y="657"/>
                  </a:lnTo>
                  <a:lnTo>
                    <a:pt x="563" y="634"/>
                  </a:lnTo>
                  <a:lnTo>
                    <a:pt x="578" y="610"/>
                  </a:lnTo>
                  <a:lnTo>
                    <a:pt x="595" y="586"/>
                  </a:lnTo>
                  <a:lnTo>
                    <a:pt x="612" y="562"/>
                  </a:lnTo>
                  <a:lnTo>
                    <a:pt x="632" y="537"/>
                  </a:lnTo>
                  <a:lnTo>
                    <a:pt x="653" y="514"/>
                  </a:lnTo>
                  <a:lnTo>
                    <a:pt x="674" y="490"/>
                  </a:lnTo>
                  <a:lnTo>
                    <a:pt x="697" y="467"/>
                  </a:lnTo>
                  <a:lnTo>
                    <a:pt x="722" y="445"/>
                  </a:lnTo>
                  <a:lnTo>
                    <a:pt x="747" y="425"/>
                  </a:lnTo>
                  <a:lnTo>
                    <a:pt x="774" y="405"/>
                  </a:lnTo>
                  <a:lnTo>
                    <a:pt x="803" y="387"/>
                  </a:lnTo>
                  <a:lnTo>
                    <a:pt x="832" y="371"/>
                  </a:lnTo>
                  <a:lnTo>
                    <a:pt x="832" y="371"/>
                  </a:lnTo>
                  <a:lnTo>
                    <a:pt x="838" y="369"/>
                  </a:lnTo>
                  <a:lnTo>
                    <a:pt x="845" y="368"/>
                  </a:lnTo>
                  <a:lnTo>
                    <a:pt x="851" y="368"/>
                  </a:lnTo>
                  <a:lnTo>
                    <a:pt x="858" y="369"/>
                  </a:lnTo>
                  <a:lnTo>
                    <a:pt x="863" y="372"/>
                  </a:lnTo>
                  <a:lnTo>
                    <a:pt x="868" y="375"/>
                  </a:lnTo>
                  <a:lnTo>
                    <a:pt x="873" y="380"/>
                  </a:lnTo>
                  <a:lnTo>
                    <a:pt x="876" y="385"/>
                  </a:lnTo>
                  <a:lnTo>
                    <a:pt x="876" y="385"/>
                  </a:lnTo>
                  <a:lnTo>
                    <a:pt x="878" y="392"/>
                  </a:lnTo>
                  <a:lnTo>
                    <a:pt x="879" y="399"/>
                  </a:lnTo>
                  <a:lnTo>
                    <a:pt x="879" y="405"/>
                  </a:lnTo>
                  <a:lnTo>
                    <a:pt x="878" y="411"/>
                  </a:lnTo>
                  <a:lnTo>
                    <a:pt x="875" y="416"/>
                  </a:lnTo>
                  <a:lnTo>
                    <a:pt x="872" y="422"/>
                  </a:lnTo>
                  <a:lnTo>
                    <a:pt x="867" y="427"/>
                  </a:lnTo>
                  <a:lnTo>
                    <a:pt x="862" y="430"/>
                  </a:lnTo>
                  <a:lnTo>
                    <a:pt x="862" y="430"/>
                  </a:lnTo>
                  <a:lnTo>
                    <a:pt x="842" y="440"/>
                  </a:lnTo>
                  <a:lnTo>
                    <a:pt x="822" y="452"/>
                  </a:lnTo>
                  <a:lnTo>
                    <a:pt x="805" y="464"/>
                  </a:lnTo>
                  <a:lnTo>
                    <a:pt x="786" y="477"/>
                  </a:lnTo>
                  <a:lnTo>
                    <a:pt x="770" y="492"/>
                  </a:lnTo>
                  <a:lnTo>
                    <a:pt x="753" y="506"/>
                  </a:lnTo>
                  <a:lnTo>
                    <a:pt x="737" y="521"/>
                  </a:lnTo>
                  <a:lnTo>
                    <a:pt x="721" y="536"/>
                  </a:lnTo>
                  <a:lnTo>
                    <a:pt x="707" y="553"/>
                  </a:lnTo>
                  <a:lnTo>
                    <a:pt x="692" y="569"/>
                  </a:lnTo>
                  <a:lnTo>
                    <a:pt x="666" y="602"/>
                  </a:lnTo>
                  <a:lnTo>
                    <a:pt x="641" y="635"/>
                  </a:lnTo>
                  <a:lnTo>
                    <a:pt x="621" y="668"/>
                  </a:lnTo>
                  <a:lnTo>
                    <a:pt x="601" y="699"/>
                  </a:lnTo>
                  <a:lnTo>
                    <a:pt x="584" y="729"/>
                  </a:lnTo>
                  <a:lnTo>
                    <a:pt x="570" y="756"/>
                  </a:lnTo>
                  <a:lnTo>
                    <a:pt x="559" y="780"/>
                  </a:lnTo>
                  <a:lnTo>
                    <a:pt x="543" y="815"/>
                  </a:lnTo>
                  <a:lnTo>
                    <a:pt x="538" y="828"/>
                  </a:lnTo>
                  <a:lnTo>
                    <a:pt x="538" y="828"/>
                  </a:lnTo>
                  <a:lnTo>
                    <a:pt x="536" y="832"/>
                  </a:lnTo>
                  <a:lnTo>
                    <a:pt x="533" y="836"/>
                  </a:lnTo>
                  <a:lnTo>
                    <a:pt x="530" y="841"/>
                  </a:lnTo>
                  <a:lnTo>
                    <a:pt x="525" y="844"/>
                  </a:lnTo>
                  <a:lnTo>
                    <a:pt x="521" y="846"/>
                  </a:lnTo>
                  <a:lnTo>
                    <a:pt x="516" y="848"/>
                  </a:lnTo>
                  <a:lnTo>
                    <a:pt x="512" y="849"/>
                  </a:lnTo>
                  <a:lnTo>
                    <a:pt x="507" y="849"/>
                  </a:lnTo>
                  <a:lnTo>
                    <a:pt x="507" y="849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2E36544-FEE9-4200-8F13-69B4053A1843}"/>
              </a:ext>
            </a:extLst>
          </p:cNvPr>
          <p:cNvGrpSpPr/>
          <p:nvPr/>
        </p:nvGrpSpPr>
        <p:grpSpPr>
          <a:xfrm>
            <a:off x="9399105" y="2306268"/>
            <a:ext cx="327025" cy="327025"/>
            <a:chOff x="4125913" y="2552700"/>
            <a:chExt cx="327025" cy="327025"/>
          </a:xfrm>
        </p:grpSpPr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id="{A8BB162B-B9EC-4899-80A5-FF6585C2F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550" y="2663825"/>
              <a:ext cx="193675" cy="195263"/>
            </a:xfrm>
            <a:custGeom>
              <a:avLst/>
              <a:gdLst>
                <a:gd name="T0" fmla="*/ 33 w 860"/>
                <a:gd name="T1" fmla="*/ 860 h 860"/>
                <a:gd name="T2" fmla="*/ 33 w 860"/>
                <a:gd name="T3" fmla="*/ 860 h 860"/>
                <a:gd name="T4" fmla="*/ 27 w 860"/>
                <a:gd name="T5" fmla="*/ 859 h 860"/>
                <a:gd name="T6" fmla="*/ 21 w 860"/>
                <a:gd name="T7" fmla="*/ 857 h 860"/>
                <a:gd name="T8" fmla="*/ 16 w 860"/>
                <a:gd name="T9" fmla="*/ 854 h 860"/>
                <a:gd name="T10" fmla="*/ 11 w 860"/>
                <a:gd name="T11" fmla="*/ 850 h 860"/>
                <a:gd name="T12" fmla="*/ 11 w 860"/>
                <a:gd name="T13" fmla="*/ 850 h 860"/>
                <a:gd name="T14" fmla="*/ 5 w 860"/>
                <a:gd name="T15" fmla="*/ 845 h 860"/>
                <a:gd name="T16" fmla="*/ 3 w 860"/>
                <a:gd name="T17" fmla="*/ 840 h 860"/>
                <a:gd name="T18" fmla="*/ 1 w 860"/>
                <a:gd name="T19" fmla="*/ 833 h 860"/>
                <a:gd name="T20" fmla="*/ 0 w 860"/>
                <a:gd name="T21" fmla="*/ 827 h 860"/>
                <a:gd name="T22" fmla="*/ 1 w 860"/>
                <a:gd name="T23" fmla="*/ 821 h 860"/>
                <a:gd name="T24" fmla="*/ 3 w 860"/>
                <a:gd name="T25" fmla="*/ 815 h 860"/>
                <a:gd name="T26" fmla="*/ 5 w 860"/>
                <a:gd name="T27" fmla="*/ 809 h 860"/>
                <a:gd name="T28" fmla="*/ 11 w 860"/>
                <a:gd name="T29" fmla="*/ 803 h 860"/>
                <a:gd name="T30" fmla="*/ 803 w 860"/>
                <a:gd name="T31" fmla="*/ 10 h 860"/>
                <a:gd name="T32" fmla="*/ 803 w 860"/>
                <a:gd name="T33" fmla="*/ 10 h 860"/>
                <a:gd name="T34" fmla="*/ 809 w 860"/>
                <a:gd name="T35" fmla="*/ 6 h 860"/>
                <a:gd name="T36" fmla="*/ 815 w 860"/>
                <a:gd name="T37" fmla="*/ 2 h 860"/>
                <a:gd name="T38" fmla="*/ 821 w 860"/>
                <a:gd name="T39" fmla="*/ 1 h 860"/>
                <a:gd name="T40" fmla="*/ 827 w 860"/>
                <a:gd name="T41" fmla="*/ 0 h 860"/>
                <a:gd name="T42" fmla="*/ 833 w 860"/>
                <a:gd name="T43" fmla="*/ 1 h 860"/>
                <a:gd name="T44" fmla="*/ 840 w 860"/>
                <a:gd name="T45" fmla="*/ 2 h 860"/>
                <a:gd name="T46" fmla="*/ 845 w 860"/>
                <a:gd name="T47" fmla="*/ 6 h 860"/>
                <a:gd name="T48" fmla="*/ 850 w 860"/>
                <a:gd name="T49" fmla="*/ 10 h 860"/>
                <a:gd name="T50" fmla="*/ 850 w 860"/>
                <a:gd name="T51" fmla="*/ 10 h 860"/>
                <a:gd name="T52" fmla="*/ 855 w 860"/>
                <a:gd name="T53" fmla="*/ 15 h 860"/>
                <a:gd name="T54" fmla="*/ 857 w 860"/>
                <a:gd name="T55" fmla="*/ 21 h 860"/>
                <a:gd name="T56" fmla="*/ 859 w 860"/>
                <a:gd name="T57" fmla="*/ 27 h 860"/>
                <a:gd name="T58" fmla="*/ 860 w 860"/>
                <a:gd name="T59" fmla="*/ 34 h 860"/>
                <a:gd name="T60" fmla="*/ 859 w 860"/>
                <a:gd name="T61" fmla="*/ 40 h 860"/>
                <a:gd name="T62" fmla="*/ 857 w 860"/>
                <a:gd name="T63" fmla="*/ 46 h 860"/>
                <a:gd name="T64" fmla="*/ 855 w 860"/>
                <a:gd name="T65" fmla="*/ 52 h 860"/>
                <a:gd name="T66" fmla="*/ 850 w 860"/>
                <a:gd name="T67" fmla="*/ 57 h 860"/>
                <a:gd name="T68" fmla="*/ 57 w 860"/>
                <a:gd name="T69" fmla="*/ 850 h 860"/>
                <a:gd name="T70" fmla="*/ 57 w 860"/>
                <a:gd name="T71" fmla="*/ 850 h 860"/>
                <a:gd name="T72" fmla="*/ 52 w 860"/>
                <a:gd name="T73" fmla="*/ 854 h 860"/>
                <a:gd name="T74" fmla="*/ 46 w 860"/>
                <a:gd name="T75" fmla="*/ 857 h 860"/>
                <a:gd name="T76" fmla="*/ 40 w 860"/>
                <a:gd name="T77" fmla="*/ 859 h 860"/>
                <a:gd name="T78" fmla="*/ 33 w 860"/>
                <a:gd name="T79" fmla="*/ 860 h 860"/>
                <a:gd name="T80" fmla="*/ 33 w 860"/>
                <a:gd name="T81" fmla="*/ 860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0" h="860">
                  <a:moveTo>
                    <a:pt x="33" y="860"/>
                  </a:moveTo>
                  <a:lnTo>
                    <a:pt x="33" y="860"/>
                  </a:lnTo>
                  <a:lnTo>
                    <a:pt x="27" y="859"/>
                  </a:lnTo>
                  <a:lnTo>
                    <a:pt x="21" y="857"/>
                  </a:lnTo>
                  <a:lnTo>
                    <a:pt x="16" y="854"/>
                  </a:lnTo>
                  <a:lnTo>
                    <a:pt x="11" y="850"/>
                  </a:lnTo>
                  <a:lnTo>
                    <a:pt x="11" y="850"/>
                  </a:lnTo>
                  <a:lnTo>
                    <a:pt x="5" y="845"/>
                  </a:lnTo>
                  <a:lnTo>
                    <a:pt x="3" y="840"/>
                  </a:lnTo>
                  <a:lnTo>
                    <a:pt x="1" y="833"/>
                  </a:lnTo>
                  <a:lnTo>
                    <a:pt x="0" y="827"/>
                  </a:lnTo>
                  <a:lnTo>
                    <a:pt x="1" y="821"/>
                  </a:lnTo>
                  <a:lnTo>
                    <a:pt x="3" y="815"/>
                  </a:lnTo>
                  <a:lnTo>
                    <a:pt x="5" y="809"/>
                  </a:lnTo>
                  <a:lnTo>
                    <a:pt x="11" y="803"/>
                  </a:lnTo>
                  <a:lnTo>
                    <a:pt x="803" y="10"/>
                  </a:lnTo>
                  <a:lnTo>
                    <a:pt x="803" y="10"/>
                  </a:lnTo>
                  <a:lnTo>
                    <a:pt x="809" y="6"/>
                  </a:lnTo>
                  <a:lnTo>
                    <a:pt x="815" y="2"/>
                  </a:lnTo>
                  <a:lnTo>
                    <a:pt x="821" y="1"/>
                  </a:lnTo>
                  <a:lnTo>
                    <a:pt x="827" y="0"/>
                  </a:lnTo>
                  <a:lnTo>
                    <a:pt x="833" y="1"/>
                  </a:lnTo>
                  <a:lnTo>
                    <a:pt x="840" y="2"/>
                  </a:lnTo>
                  <a:lnTo>
                    <a:pt x="845" y="6"/>
                  </a:lnTo>
                  <a:lnTo>
                    <a:pt x="850" y="10"/>
                  </a:lnTo>
                  <a:lnTo>
                    <a:pt x="850" y="10"/>
                  </a:lnTo>
                  <a:lnTo>
                    <a:pt x="855" y="15"/>
                  </a:lnTo>
                  <a:lnTo>
                    <a:pt x="857" y="21"/>
                  </a:lnTo>
                  <a:lnTo>
                    <a:pt x="859" y="27"/>
                  </a:lnTo>
                  <a:lnTo>
                    <a:pt x="860" y="34"/>
                  </a:lnTo>
                  <a:lnTo>
                    <a:pt x="859" y="40"/>
                  </a:lnTo>
                  <a:lnTo>
                    <a:pt x="857" y="46"/>
                  </a:lnTo>
                  <a:lnTo>
                    <a:pt x="855" y="52"/>
                  </a:lnTo>
                  <a:lnTo>
                    <a:pt x="850" y="57"/>
                  </a:lnTo>
                  <a:lnTo>
                    <a:pt x="57" y="850"/>
                  </a:lnTo>
                  <a:lnTo>
                    <a:pt x="57" y="850"/>
                  </a:lnTo>
                  <a:lnTo>
                    <a:pt x="52" y="854"/>
                  </a:lnTo>
                  <a:lnTo>
                    <a:pt x="46" y="857"/>
                  </a:lnTo>
                  <a:lnTo>
                    <a:pt x="40" y="859"/>
                  </a:lnTo>
                  <a:lnTo>
                    <a:pt x="33" y="860"/>
                  </a:lnTo>
                  <a:lnTo>
                    <a:pt x="33" y="860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">
              <a:extLst>
                <a:ext uri="{FF2B5EF4-FFF2-40B4-BE49-F238E27FC236}">
                  <a16:creationId xmlns:a16="http://schemas.microsoft.com/office/drawing/2014/main" id="{B5F484DD-BAEB-4FA0-A5A5-18F94B5C9C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5913" y="2552700"/>
              <a:ext cx="327025" cy="327025"/>
            </a:xfrm>
            <a:custGeom>
              <a:avLst/>
              <a:gdLst>
                <a:gd name="T0" fmla="*/ 509 w 1444"/>
                <a:gd name="T1" fmla="*/ 1438 h 1443"/>
                <a:gd name="T2" fmla="*/ 379 w 1444"/>
                <a:gd name="T3" fmla="*/ 1406 h 1443"/>
                <a:gd name="T4" fmla="*/ 244 w 1444"/>
                <a:gd name="T5" fmla="*/ 1345 h 1443"/>
                <a:gd name="T6" fmla="*/ 153 w 1444"/>
                <a:gd name="T7" fmla="*/ 1289 h 1443"/>
                <a:gd name="T8" fmla="*/ 75 w 1444"/>
                <a:gd name="T9" fmla="*/ 1153 h 1443"/>
                <a:gd name="T10" fmla="*/ 20 w 1444"/>
                <a:gd name="T11" fmla="*/ 1007 h 1443"/>
                <a:gd name="T12" fmla="*/ 2 w 1444"/>
                <a:gd name="T13" fmla="*/ 905 h 1443"/>
                <a:gd name="T14" fmla="*/ 2 w 1444"/>
                <a:gd name="T15" fmla="*/ 808 h 1443"/>
                <a:gd name="T16" fmla="*/ 21 w 1444"/>
                <a:gd name="T17" fmla="*/ 715 h 1443"/>
                <a:gd name="T18" fmla="*/ 48 w 1444"/>
                <a:gd name="T19" fmla="*/ 643 h 1443"/>
                <a:gd name="T20" fmla="*/ 119 w 1444"/>
                <a:gd name="T21" fmla="*/ 530 h 1443"/>
                <a:gd name="T22" fmla="*/ 216 w 1444"/>
                <a:gd name="T23" fmla="*/ 429 h 1443"/>
                <a:gd name="T24" fmla="*/ 331 w 1444"/>
                <a:gd name="T25" fmla="*/ 342 h 1443"/>
                <a:gd name="T26" fmla="*/ 517 w 1444"/>
                <a:gd name="T27" fmla="*/ 240 h 1443"/>
                <a:gd name="T28" fmla="*/ 801 w 1444"/>
                <a:gd name="T29" fmla="*/ 130 h 1443"/>
                <a:gd name="T30" fmla="*/ 1072 w 1444"/>
                <a:gd name="T31" fmla="*/ 58 h 1443"/>
                <a:gd name="T32" fmla="*/ 1387 w 1444"/>
                <a:gd name="T33" fmla="*/ 2 h 1443"/>
                <a:gd name="T34" fmla="*/ 1428 w 1444"/>
                <a:gd name="T35" fmla="*/ 5 h 1443"/>
                <a:gd name="T36" fmla="*/ 1444 w 1444"/>
                <a:gd name="T37" fmla="*/ 29 h 1443"/>
                <a:gd name="T38" fmla="*/ 1426 w 1444"/>
                <a:gd name="T39" fmla="*/ 158 h 1443"/>
                <a:gd name="T40" fmla="*/ 1361 w 1444"/>
                <a:gd name="T41" fmla="*/ 475 h 1443"/>
                <a:gd name="T42" fmla="*/ 1274 w 1444"/>
                <a:gd name="T43" fmla="*/ 756 h 1443"/>
                <a:gd name="T44" fmla="*/ 1148 w 1444"/>
                <a:gd name="T45" fmla="*/ 1036 h 1443"/>
                <a:gd name="T46" fmla="*/ 1068 w 1444"/>
                <a:gd name="T47" fmla="*/ 1161 h 1443"/>
                <a:gd name="T48" fmla="*/ 976 w 1444"/>
                <a:gd name="T49" fmla="*/ 1268 h 1443"/>
                <a:gd name="T50" fmla="*/ 871 w 1444"/>
                <a:gd name="T51" fmla="*/ 1355 h 1443"/>
                <a:gd name="T52" fmla="*/ 774 w 1444"/>
                <a:gd name="T53" fmla="*/ 1406 h 1443"/>
                <a:gd name="T54" fmla="*/ 641 w 1444"/>
                <a:gd name="T55" fmla="*/ 1440 h 1443"/>
                <a:gd name="T56" fmla="*/ 201 w 1444"/>
                <a:gd name="T57" fmla="*/ 1242 h 1443"/>
                <a:gd name="T58" fmla="*/ 396 w 1444"/>
                <a:gd name="T59" fmla="*/ 1341 h 1443"/>
                <a:gd name="T60" fmla="*/ 558 w 1444"/>
                <a:gd name="T61" fmla="*/ 1376 h 1443"/>
                <a:gd name="T62" fmla="*/ 644 w 1444"/>
                <a:gd name="T63" fmla="*/ 1373 h 1443"/>
                <a:gd name="T64" fmla="*/ 726 w 1444"/>
                <a:gd name="T65" fmla="*/ 1354 h 1443"/>
                <a:gd name="T66" fmla="*/ 792 w 1444"/>
                <a:gd name="T67" fmla="*/ 1325 h 1443"/>
                <a:gd name="T68" fmla="*/ 885 w 1444"/>
                <a:gd name="T69" fmla="*/ 1262 h 1443"/>
                <a:gd name="T70" fmla="*/ 968 w 1444"/>
                <a:gd name="T71" fmla="*/ 1179 h 1443"/>
                <a:gd name="T72" fmla="*/ 1069 w 1444"/>
                <a:gd name="T73" fmla="*/ 1039 h 1443"/>
                <a:gd name="T74" fmla="*/ 1184 w 1444"/>
                <a:gd name="T75" fmla="*/ 803 h 1443"/>
                <a:gd name="T76" fmla="*/ 1269 w 1444"/>
                <a:gd name="T77" fmla="*/ 554 h 1443"/>
                <a:gd name="T78" fmla="*/ 1344 w 1444"/>
                <a:gd name="T79" fmla="*/ 245 h 1443"/>
                <a:gd name="T80" fmla="*/ 1327 w 1444"/>
                <a:gd name="T81" fmla="*/ 77 h 1443"/>
                <a:gd name="T82" fmla="*/ 984 w 1444"/>
                <a:gd name="T83" fmla="*/ 149 h 1443"/>
                <a:gd name="T84" fmla="*/ 740 w 1444"/>
                <a:gd name="T85" fmla="*/ 222 h 1443"/>
                <a:gd name="T86" fmla="*/ 496 w 1444"/>
                <a:gd name="T87" fmla="*/ 325 h 1443"/>
                <a:gd name="T88" fmla="*/ 301 w 1444"/>
                <a:gd name="T89" fmla="*/ 445 h 1443"/>
                <a:gd name="T90" fmla="*/ 212 w 1444"/>
                <a:gd name="T91" fmla="*/ 524 h 1443"/>
                <a:gd name="T92" fmla="*/ 141 w 1444"/>
                <a:gd name="T93" fmla="*/ 613 h 1443"/>
                <a:gd name="T94" fmla="*/ 102 w 1444"/>
                <a:gd name="T95" fmla="*/ 687 h 1443"/>
                <a:gd name="T96" fmla="*/ 76 w 1444"/>
                <a:gd name="T97" fmla="*/ 766 h 1443"/>
                <a:gd name="T98" fmla="*/ 67 w 1444"/>
                <a:gd name="T99" fmla="*/ 850 h 1443"/>
                <a:gd name="T100" fmla="*/ 80 w 1444"/>
                <a:gd name="T101" fmla="*/ 974 h 1443"/>
                <a:gd name="T102" fmla="*/ 153 w 1444"/>
                <a:gd name="T103" fmla="*/ 116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4" h="1443">
                  <a:moveTo>
                    <a:pt x="585" y="1443"/>
                  </a:moveTo>
                  <a:lnTo>
                    <a:pt x="585" y="1443"/>
                  </a:lnTo>
                  <a:lnTo>
                    <a:pt x="560" y="1442"/>
                  </a:lnTo>
                  <a:lnTo>
                    <a:pt x="535" y="1441"/>
                  </a:lnTo>
                  <a:lnTo>
                    <a:pt x="509" y="1438"/>
                  </a:lnTo>
                  <a:lnTo>
                    <a:pt x="485" y="1434"/>
                  </a:lnTo>
                  <a:lnTo>
                    <a:pt x="459" y="1429"/>
                  </a:lnTo>
                  <a:lnTo>
                    <a:pt x="432" y="1423"/>
                  </a:lnTo>
                  <a:lnTo>
                    <a:pt x="406" y="1414"/>
                  </a:lnTo>
                  <a:lnTo>
                    <a:pt x="379" y="1406"/>
                  </a:lnTo>
                  <a:lnTo>
                    <a:pt x="352" y="1396"/>
                  </a:lnTo>
                  <a:lnTo>
                    <a:pt x="325" y="1384"/>
                  </a:lnTo>
                  <a:lnTo>
                    <a:pt x="298" y="1373"/>
                  </a:lnTo>
                  <a:lnTo>
                    <a:pt x="270" y="1359"/>
                  </a:lnTo>
                  <a:lnTo>
                    <a:pt x="244" y="1345"/>
                  </a:lnTo>
                  <a:lnTo>
                    <a:pt x="216" y="1328"/>
                  </a:lnTo>
                  <a:lnTo>
                    <a:pt x="188" y="1312"/>
                  </a:lnTo>
                  <a:lnTo>
                    <a:pt x="159" y="1294"/>
                  </a:lnTo>
                  <a:lnTo>
                    <a:pt x="159" y="1294"/>
                  </a:lnTo>
                  <a:lnTo>
                    <a:pt x="153" y="1289"/>
                  </a:lnTo>
                  <a:lnTo>
                    <a:pt x="149" y="1284"/>
                  </a:lnTo>
                  <a:lnTo>
                    <a:pt x="149" y="1284"/>
                  </a:lnTo>
                  <a:lnTo>
                    <a:pt x="121" y="1240"/>
                  </a:lnTo>
                  <a:lnTo>
                    <a:pt x="97" y="1196"/>
                  </a:lnTo>
                  <a:lnTo>
                    <a:pt x="75" y="1153"/>
                  </a:lnTo>
                  <a:lnTo>
                    <a:pt x="55" y="1111"/>
                  </a:lnTo>
                  <a:lnTo>
                    <a:pt x="40" y="1069"/>
                  </a:lnTo>
                  <a:lnTo>
                    <a:pt x="32" y="1048"/>
                  </a:lnTo>
                  <a:lnTo>
                    <a:pt x="26" y="1027"/>
                  </a:lnTo>
                  <a:lnTo>
                    <a:pt x="20" y="1007"/>
                  </a:lnTo>
                  <a:lnTo>
                    <a:pt x="15" y="986"/>
                  </a:lnTo>
                  <a:lnTo>
                    <a:pt x="11" y="965"/>
                  </a:lnTo>
                  <a:lnTo>
                    <a:pt x="8" y="946"/>
                  </a:lnTo>
                  <a:lnTo>
                    <a:pt x="4" y="926"/>
                  </a:lnTo>
                  <a:lnTo>
                    <a:pt x="2" y="905"/>
                  </a:lnTo>
                  <a:lnTo>
                    <a:pt x="1" y="885"/>
                  </a:lnTo>
                  <a:lnTo>
                    <a:pt x="0" y="866"/>
                  </a:lnTo>
                  <a:lnTo>
                    <a:pt x="0" y="847"/>
                  </a:lnTo>
                  <a:lnTo>
                    <a:pt x="1" y="828"/>
                  </a:lnTo>
                  <a:lnTo>
                    <a:pt x="2" y="808"/>
                  </a:lnTo>
                  <a:lnTo>
                    <a:pt x="4" y="789"/>
                  </a:lnTo>
                  <a:lnTo>
                    <a:pt x="8" y="771"/>
                  </a:lnTo>
                  <a:lnTo>
                    <a:pt x="12" y="752"/>
                  </a:lnTo>
                  <a:lnTo>
                    <a:pt x="16" y="733"/>
                  </a:lnTo>
                  <a:lnTo>
                    <a:pt x="21" y="715"/>
                  </a:lnTo>
                  <a:lnTo>
                    <a:pt x="26" y="697"/>
                  </a:lnTo>
                  <a:lnTo>
                    <a:pt x="33" y="679"/>
                  </a:lnTo>
                  <a:lnTo>
                    <a:pt x="41" y="661"/>
                  </a:lnTo>
                  <a:lnTo>
                    <a:pt x="48" y="643"/>
                  </a:lnTo>
                  <a:lnTo>
                    <a:pt x="48" y="643"/>
                  </a:lnTo>
                  <a:lnTo>
                    <a:pt x="60" y="620"/>
                  </a:lnTo>
                  <a:lnTo>
                    <a:pt x="74" y="596"/>
                  </a:lnTo>
                  <a:lnTo>
                    <a:pt x="88" y="573"/>
                  </a:lnTo>
                  <a:lnTo>
                    <a:pt x="103" y="551"/>
                  </a:lnTo>
                  <a:lnTo>
                    <a:pt x="119" y="530"/>
                  </a:lnTo>
                  <a:lnTo>
                    <a:pt x="137" y="508"/>
                  </a:lnTo>
                  <a:lnTo>
                    <a:pt x="156" y="488"/>
                  </a:lnTo>
                  <a:lnTo>
                    <a:pt x="174" y="467"/>
                  </a:lnTo>
                  <a:lnTo>
                    <a:pt x="195" y="448"/>
                  </a:lnTo>
                  <a:lnTo>
                    <a:pt x="216" y="429"/>
                  </a:lnTo>
                  <a:lnTo>
                    <a:pt x="237" y="411"/>
                  </a:lnTo>
                  <a:lnTo>
                    <a:pt x="260" y="393"/>
                  </a:lnTo>
                  <a:lnTo>
                    <a:pt x="283" y="375"/>
                  </a:lnTo>
                  <a:lnTo>
                    <a:pt x="307" y="359"/>
                  </a:lnTo>
                  <a:lnTo>
                    <a:pt x="331" y="342"/>
                  </a:lnTo>
                  <a:lnTo>
                    <a:pt x="356" y="326"/>
                  </a:lnTo>
                  <a:lnTo>
                    <a:pt x="382" y="310"/>
                  </a:lnTo>
                  <a:lnTo>
                    <a:pt x="408" y="296"/>
                  </a:lnTo>
                  <a:lnTo>
                    <a:pt x="462" y="267"/>
                  </a:lnTo>
                  <a:lnTo>
                    <a:pt x="517" y="240"/>
                  </a:lnTo>
                  <a:lnTo>
                    <a:pt x="573" y="215"/>
                  </a:lnTo>
                  <a:lnTo>
                    <a:pt x="630" y="191"/>
                  </a:lnTo>
                  <a:lnTo>
                    <a:pt x="687" y="169"/>
                  </a:lnTo>
                  <a:lnTo>
                    <a:pt x="744" y="149"/>
                  </a:lnTo>
                  <a:lnTo>
                    <a:pt x="801" y="130"/>
                  </a:lnTo>
                  <a:lnTo>
                    <a:pt x="858" y="113"/>
                  </a:lnTo>
                  <a:lnTo>
                    <a:pt x="914" y="97"/>
                  </a:lnTo>
                  <a:lnTo>
                    <a:pt x="968" y="83"/>
                  </a:lnTo>
                  <a:lnTo>
                    <a:pt x="1022" y="70"/>
                  </a:lnTo>
                  <a:lnTo>
                    <a:pt x="1072" y="58"/>
                  </a:lnTo>
                  <a:lnTo>
                    <a:pt x="1121" y="47"/>
                  </a:lnTo>
                  <a:lnTo>
                    <a:pt x="1210" y="30"/>
                  </a:lnTo>
                  <a:lnTo>
                    <a:pt x="1286" y="17"/>
                  </a:lnTo>
                  <a:lnTo>
                    <a:pt x="1346" y="8"/>
                  </a:lnTo>
                  <a:lnTo>
                    <a:pt x="1387" y="2"/>
                  </a:lnTo>
                  <a:lnTo>
                    <a:pt x="1408" y="0"/>
                  </a:lnTo>
                  <a:lnTo>
                    <a:pt x="1408" y="0"/>
                  </a:lnTo>
                  <a:lnTo>
                    <a:pt x="1415" y="0"/>
                  </a:lnTo>
                  <a:lnTo>
                    <a:pt x="1422" y="2"/>
                  </a:lnTo>
                  <a:lnTo>
                    <a:pt x="1428" y="5"/>
                  </a:lnTo>
                  <a:lnTo>
                    <a:pt x="1435" y="9"/>
                  </a:lnTo>
                  <a:lnTo>
                    <a:pt x="1435" y="9"/>
                  </a:lnTo>
                  <a:lnTo>
                    <a:pt x="1439" y="15"/>
                  </a:lnTo>
                  <a:lnTo>
                    <a:pt x="1442" y="22"/>
                  </a:lnTo>
                  <a:lnTo>
                    <a:pt x="1444" y="29"/>
                  </a:lnTo>
                  <a:lnTo>
                    <a:pt x="1444" y="36"/>
                  </a:lnTo>
                  <a:lnTo>
                    <a:pt x="1444" y="36"/>
                  </a:lnTo>
                  <a:lnTo>
                    <a:pt x="1441" y="57"/>
                  </a:lnTo>
                  <a:lnTo>
                    <a:pt x="1436" y="98"/>
                  </a:lnTo>
                  <a:lnTo>
                    <a:pt x="1426" y="158"/>
                  </a:lnTo>
                  <a:lnTo>
                    <a:pt x="1414" y="234"/>
                  </a:lnTo>
                  <a:lnTo>
                    <a:pt x="1396" y="323"/>
                  </a:lnTo>
                  <a:lnTo>
                    <a:pt x="1386" y="371"/>
                  </a:lnTo>
                  <a:lnTo>
                    <a:pt x="1374" y="422"/>
                  </a:lnTo>
                  <a:lnTo>
                    <a:pt x="1361" y="475"/>
                  </a:lnTo>
                  <a:lnTo>
                    <a:pt x="1347" y="530"/>
                  </a:lnTo>
                  <a:lnTo>
                    <a:pt x="1330" y="585"/>
                  </a:lnTo>
                  <a:lnTo>
                    <a:pt x="1314" y="641"/>
                  </a:lnTo>
                  <a:lnTo>
                    <a:pt x="1295" y="699"/>
                  </a:lnTo>
                  <a:lnTo>
                    <a:pt x="1274" y="756"/>
                  </a:lnTo>
                  <a:lnTo>
                    <a:pt x="1253" y="814"/>
                  </a:lnTo>
                  <a:lnTo>
                    <a:pt x="1229" y="871"/>
                  </a:lnTo>
                  <a:lnTo>
                    <a:pt x="1204" y="927"/>
                  </a:lnTo>
                  <a:lnTo>
                    <a:pt x="1177" y="982"/>
                  </a:lnTo>
                  <a:lnTo>
                    <a:pt x="1148" y="1036"/>
                  </a:lnTo>
                  <a:lnTo>
                    <a:pt x="1134" y="1061"/>
                  </a:lnTo>
                  <a:lnTo>
                    <a:pt x="1118" y="1087"/>
                  </a:lnTo>
                  <a:lnTo>
                    <a:pt x="1101" y="1112"/>
                  </a:lnTo>
                  <a:lnTo>
                    <a:pt x="1085" y="1136"/>
                  </a:lnTo>
                  <a:lnTo>
                    <a:pt x="1068" y="1161"/>
                  </a:lnTo>
                  <a:lnTo>
                    <a:pt x="1051" y="1183"/>
                  </a:lnTo>
                  <a:lnTo>
                    <a:pt x="1033" y="1206"/>
                  </a:lnTo>
                  <a:lnTo>
                    <a:pt x="1015" y="1228"/>
                  </a:lnTo>
                  <a:lnTo>
                    <a:pt x="995" y="1249"/>
                  </a:lnTo>
                  <a:lnTo>
                    <a:pt x="976" y="1268"/>
                  </a:lnTo>
                  <a:lnTo>
                    <a:pt x="956" y="1288"/>
                  </a:lnTo>
                  <a:lnTo>
                    <a:pt x="935" y="1307"/>
                  </a:lnTo>
                  <a:lnTo>
                    <a:pt x="914" y="1324"/>
                  </a:lnTo>
                  <a:lnTo>
                    <a:pt x="892" y="1340"/>
                  </a:lnTo>
                  <a:lnTo>
                    <a:pt x="871" y="1355"/>
                  </a:lnTo>
                  <a:lnTo>
                    <a:pt x="848" y="1370"/>
                  </a:lnTo>
                  <a:lnTo>
                    <a:pt x="824" y="1383"/>
                  </a:lnTo>
                  <a:lnTo>
                    <a:pt x="800" y="1395"/>
                  </a:lnTo>
                  <a:lnTo>
                    <a:pt x="800" y="1395"/>
                  </a:lnTo>
                  <a:lnTo>
                    <a:pt x="774" y="1406"/>
                  </a:lnTo>
                  <a:lnTo>
                    <a:pt x="749" y="1416"/>
                  </a:lnTo>
                  <a:lnTo>
                    <a:pt x="723" y="1425"/>
                  </a:lnTo>
                  <a:lnTo>
                    <a:pt x="696" y="1431"/>
                  </a:lnTo>
                  <a:lnTo>
                    <a:pt x="669" y="1436"/>
                  </a:lnTo>
                  <a:lnTo>
                    <a:pt x="641" y="1440"/>
                  </a:lnTo>
                  <a:lnTo>
                    <a:pt x="613" y="1442"/>
                  </a:lnTo>
                  <a:lnTo>
                    <a:pt x="585" y="1443"/>
                  </a:lnTo>
                  <a:lnTo>
                    <a:pt x="585" y="1443"/>
                  </a:lnTo>
                  <a:close/>
                  <a:moveTo>
                    <a:pt x="201" y="1242"/>
                  </a:moveTo>
                  <a:lnTo>
                    <a:pt x="201" y="1242"/>
                  </a:lnTo>
                  <a:lnTo>
                    <a:pt x="241" y="1267"/>
                  </a:lnTo>
                  <a:lnTo>
                    <a:pt x="281" y="1289"/>
                  </a:lnTo>
                  <a:lnTo>
                    <a:pt x="319" y="1309"/>
                  </a:lnTo>
                  <a:lnTo>
                    <a:pt x="357" y="1326"/>
                  </a:lnTo>
                  <a:lnTo>
                    <a:pt x="396" y="1341"/>
                  </a:lnTo>
                  <a:lnTo>
                    <a:pt x="433" y="1353"/>
                  </a:lnTo>
                  <a:lnTo>
                    <a:pt x="469" y="1362"/>
                  </a:lnTo>
                  <a:lnTo>
                    <a:pt x="505" y="1370"/>
                  </a:lnTo>
                  <a:lnTo>
                    <a:pt x="541" y="1375"/>
                  </a:lnTo>
                  <a:lnTo>
                    <a:pt x="558" y="1376"/>
                  </a:lnTo>
                  <a:lnTo>
                    <a:pt x="576" y="1377"/>
                  </a:lnTo>
                  <a:lnTo>
                    <a:pt x="593" y="1377"/>
                  </a:lnTo>
                  <a:lnTo>
                    <a:pt x="610" y="1376"/>
                  </a:lnTo>
                  <a:lnTo>
                    <a:pt x="626" y="1375"/>
                  </a:lnTo>
                  <a:lnTo>
                    <a:pt x="644" y="1373"/>
                  </a:lnTo>
                  <a:lnTo>
                    <a:pt x="661" y="1371"/>
                  </a:lnTo>
                  <a:lnTo>
                    <a:pt x="677" y="1368"/>
                  </a:lnTo>
                  <a:lnTo>
                    <a:pt x="693" y="1364"/>
                  </a:lnTo>
                  <a:lnTo>
                    <a:pt x="709" y="1359"/>
                  </a:lnTo>
                  <a:lnTo>
                    <a:pt x="726" y="1354"/>
                  </a:lnTo>
                  <a:lnTo>
                    <a:pt x="741" y="1348"/>
                  </a:lnTo>
                  <a:lnTo>
                    <a:pt x="757" y="1342"/>
                  </a:lnTo>
                  <a:lnTo>
                    <a:pt x="772" y="1336"/>
                  </a:lnTo>
                  <a:lnTo>
                    <a:pt x="772" y="1336"/>
                  </a:lnTo>
                  <a:lnTo>
                    <a:pt x="792" y="1325"/>
                  </a:lnTo>
                  <a:lnTo>
                    <a:pt x="812" y="1315"/>
                  </a:lnTo>
                  <a:lnTo>
                    <a:pt x="830" y="1302"/>
                  </a:lnTo>
                  <a:lnTo>
                    <a:pt x="849" y="1290"/>
                  </a:lnTo>
                  <a:lnTo>
                    <a:pt x="868" y="1277"/>
                  </a:lnTo>
                  <a:lnTo>
                    <a:pt x="885" y="1262"/>
                  </a:lnTo>
                  <a:lnTo>
                    <a:pt x="903" y="1248"/>
                  </a:lnTo>
                  <a:lnTo>
                    <a:pt x="919" y="1231"/>
                  </a:lnTo>
                  <a:lnTo>
                    <a:pt x="936" y="1215"/>
                  </a:lnTo>
                  <a:lnTo>
                    <a:pt x="952" y="1198"/>
                  </a:lnTo>
                  <a:lnTo>
                    <a:pt x="968" y="1179"/>
                  </a:lnTo>
                  <a:lnTo>
                    <a:pt x="983" y="1161"/>
                  </a:lnTo>
                  <a:lnTo>
                    <a:pt x="999" y="1142"/>
                  </a:lnTo>
                  <a:lnTo>
                    <a:pt x="1013" y="1122"/>
                  </a:lnTo>
                  <a:lnTo>
                    <a:pt x="1042" y="1081"/>
                  </a:lnTo>
                  <a:lnTo>
                    <a:pt x="1069" y="1039"/>
                  </a:lnTo>
                  <a:lnTo>
                    <a:pt x="1095" y="993"/>
                  </a:lnTo>
                  <a:lnTo>
                    <a:pt x="1119" y="948"/>
                  </a:lnTo>
                  <a:lnTo>
                    <a:pt x="1142" y="900"/>
                  </a:lnTo>
                  <a:lnTo>
                    <a:pt x="1165" y="851"/>
                  </a:lnTo>
                  <a:lnTo>
                    <a:pt x="1184" y="803"/>
                  </a:lnTo>
                  <a:lnTo>
                    <a:pt x="1204" y="753"/>
                  </a:lnTo>
                  <a:lnTo>
                    <a:pt x="1221" y="703"/>
                  </a:lnTo>
                  <a:lnTo>
                    <a:pt x="1239" y="654"/>
                  </a:lnTo>
                  <a:lnTo>
                    <a:pt x="1255" y="604"/>
                  </a:lnTo>
                  <a:lnTo>
                    <a:pt x="1269" y="554"/>
                  </a:lnTo>
                  <a:lnTo>
                    <a:pt x="1283" y="507"/>
                  </a:lnTo>
                  <a:lnTo>
                    <a:pt x="1295" y="459"/>
                  </a:lnTo>
                  <a:lnTo>
                    <a:pt x="1306" y="413"/>
                  </a:lnTo>
                  <a:lnTo>
                    <a:pt x="1327" y="326"/>
                  </a:lnTo>
                  <a:lnTo>
                    <a:pt x="1344" y="245"/>
                  </a:lnTo>
                  <a:lnTo>
                    <a:pt x="1356" y="175"/>
                  </a:lnTo>
                  <a:lnTo>
                    <a:pt x="1365" y="117"/>
                  </a:lnTo>
                  <a:lnTo>
                    <a:pt x="1373" y="71"/>
                  </a:lnTo>
                  <a:lnTo>
                    <a:pt x="1373" y="71"/>
                  </a:lnTo>
                  <a:lnTo>
                    <a:pt x="1327" y="77"/>
                  </a:lnTo>
                  <a:lnTo>
                    <a:pt x="1269" y="88"/>
                  </a:lnTo>
                  <a:lnTo>
                    <a:pt x="1199" y="100"/>
                  </a:lnTo>
                  <a:lnTo>
                    <a:pt x="1118" y="117"/>
                  </a:lnTo>
                  <a:lnTo>
                    <a:pt x="1031" y="137"/>
                  </a:lnTo>
                  <a:lnTo>
                    <a:pt x="984" y="149"/>
                  </a:lnTo>
                  <a:lnTo>
                    <a:pt x="937" y="161"/>
                  </a:lnTo>
                  <a:lnTo>
                    <a:pt x="888" y="175"/>
                  </a:lnTo>
                  <a:lnTo>
                    <a:pt x="840" y="189"/>
                  </a:lnTo>
                  <a:lnTo>
                    <a:pt x="790" y="205"/>
                  </a:lnTo>
                  <a:lnTo>
                    <a:pt x="740" y="222"/>
                  </a:lnTo>
                  <a:lnTo>
                    <a:pt x="691" y="240"/>
                  </a:lnTo>
                  <a:lnTo>
                    <a:pt x="641" y="259"/>
                  </a:lnTo>
                  <a:lnTo>
                    <a:pt x="592" y="279"/>
                  </a:lnTo>
                  <a:lnTo>
                    <a:pt x="544" y="301"/>
                  </a:lnTo>
                  <a:lnTo>
                    <a:pt x="496" y="325"/>
                  </a:lnTo>
                  <a:lnTo>
                    <a:pt x="449" y="348"/>
                  </a:lnTo>
                  <a:lnTo>
                    <a:pt x="405" y="374"/>
                  </a:lnTo>
                  <a:lnTo>
                    <a:pt x="363" y="401"/>
                  </a:lnTo>
                  <a:lnTo>
                    <a:pt x="321" y="430"/>
                  </a:lnTo>
                  <a:lnTo>
                    <a:pt x="301" y="445"/>
                  </a:lnTo>
                  <a:lnTo>
                    <a:pt x="282" y="460"/>
                  </a:lnTo>
                  <a:lnTo>
                    <a:pt x="264" y="476"/>
                  </a:lnTo>
                  <a:lnTo>
                    <a:pt x="246" y="491"/>
                  </a:lnTo>
                  <a:lnTo>
                    <a:pt x="229" y="508"/>
                  </a:lnTo>
                  <a:lnTo>
                    <a:pt x="212" y="524"/>
                  </a:lnTo>
                  <a:lnTo>
                    <a:pt x="196" y="541"/>
                  </a:lnTo>
                  <a:lnTo>
                    <a:pt x="181" y="559"/>
                  </a:lnTo>
                  <a:lnTo>
                    <a:pt x="167" y="576"/>
                  </a:lnTo>
                  <a:lnTo>
                    <a:pt x="153" y="595"/>
                  </a:lnTo>
                  <a:lnTo>
                    <a:pt x="141" y="613"/>
                  </a:lnTo>
                  <a:lnTo>
                    <a:pt x="129" y="632"/>
                  </a:lnTo>
                  <a:lnTo>
                    <a:pt x="118" y="652"/>
                  </a:lnTo>
                  <a:lnTo>
                    <a:pt x="108" y="671"/>
                  </a:lnTo>
                  <a:lnTo>
                    <a:pt x="108" y="671"/>
                  </a:lnTo>
                  <a:lnTo>
                    <a:pt x="102" y="687"/>
                  </a:lnTo>
                  <a:lnTo>
                    <a:pt x="95" y="702"/>
                  </a:lnTo>
                  <a:lnTo>
                    <a:pt x="89" y="718"/>
                  </a:lnTo>
                  <a:lnTo>
                    <a:pt x="84" y="734"/>
                  </a:lnTo>
                  <a:lnTo>
                    <a:pt x="80" y="750"/>
                  </a:lnTo>
                  <a:lnTo>
                    <a:pt x="76" y="766"/>
                  </a:lnTo>
                  <a:lnTo>
                    <a:pt x="73" y="783"/>
                  </a:lnTo>
                  <a:lnTo>
                    <a:pt x="71" y="800"/>
                  </a:lnTo>
                  <a:lnTo>
                    <a:pt x="69" y="816"/>
                  </a:lnTo>
                  <a:lnTo>
                    <a:pt x="68" y="834"/>
                  </a:lnTo>
                  <a:lnTo>
                    <a:pt x="67" y="850"/>
                  </a:lnTo>
                  <a:lnTo>
                    <a:pt x="67" y="868"/>
                  </a:lnTo>
                  <a:lnTo>
                    <a:pt x="68" y="885"/>
                  </a:lnTo>
                  <a:lnTo>
                    <a:pt x="69" y="903"/>
                  </a:lnTo>
                  <a:lnTo>
                    <a:pt x="74" y="938"/>
                  </a:lnTo>
                  <a:lnTo>
                    <a:pt x="80" y="974"/>
                  </a:lnTo>
                  <a:lnTo>
                    <a:pt x="90" y="1011"/>
                  </a:lnTo>
                  <a:lnTo>
                    <a:pt x="103" y="1048"/>
                  </a:lnTo>
                  <a:lnTo>
                    <a:pt x="117" y="1086"/>
                  </a:lnTo>
                  <a:lnTo>
                    <a:pt x="134" y="1125"/>
                  </a:lnTo>
                  <a:lnTo>
                    <a:pt x="153" y="1163"/>
                  </a:lnTo>
                  <a:lnTo>
                    <a:pt x="176" y="1202"/>
                  </a:lnTo>
                  <a:lnTo>
                    <a:pt x="201" y="1242"/>
                  </a:lnTo>
                  <a:lnTo>
                    <a:pt x="201" y="124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76ECC5F3-0A62-4C7A-AE47-668855516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88" y="2709863"/>
              <a:ext cx="90488" cy="88900"/>
            </a:xfrm>
            <a:custGeom>
              <a:avLst/>
              <a:gdLst>
                <a:gd name="T0" fmla="*/ 363 w 397"/>
                <a:gd name="T1" fmla="*/ 396 h 396"/>
                <a:gd name="T2" fmla="*/ 33 w 397"/>
                <a:gd name="T3" fmla="*/ 396 h 396"/>
                <a:gd name="T4" fmla="*/ 33 w 397"/>
                <a:gd name="T5" fmla="*/ 396 h 396"/>
                <a:gd name="T6" fmla="*/ 26 w 397"/>
                <a:gd name="T7" fmla="*/ 395 h 396"/>
                <a:gd name="T8" fmla="*/ 20 w 397"/>
                <a:gd name="T9" fmla="*/ 394 h 396"/>
                <a:gd name="T10" fmla="*/ 15 w 397"/>
                <a:gd name="T11" fmla="*/ 391 h 396"/>
                <a:gd name="T12" fmla="*/ 10 w 397"/>
                <a:gd name="T13" fmla="*/ 387 h 396"/>
                <a:gd name="T14" fmla="*/ 5 w 397"/>
                <a:gd name="T15" fmla="*/ 382 h 396"/>
                <a:gd name="T16" fmla="*/ 2 w 397"/>
                <a:gd name="T17" fmla="*/ 377 h 396"/>
                <a:gd name="T18" fmla="*/ 0 w 397"/>
                <a:gd name="T19" fmla="*/ 370 h 396"/>
                <a:gd name="T20" fmla="*/ 0 w 397"/>
                <a:gd name="T21" fmla="*/ 363 h 396"/>
                <a:gd name="T22" fmla="*/ 0 w 397"/>
                <a:gd name="T23" fmla="*/ 33 h 396"/>
                <a:gd name="T24" fmla="*/ 0 w 397"/>
                <a:gd name="T25" fmla="*/ 33 h 396"/>
                <a:gd name="T26" fmla="*/ 0 w 397"/>
                <a:gd name="T27" fmla="*/ 26 h 396"/>
                <a:gd name="T28" fmla="*/ 2 w 397"/>
                <a:gd name="T29" fmla="*/ 20 h 396"/>
                <a:gd name="T30" fmla="*/ 5 w 397"/>
                <a:gd name="T31" fmla="*/ 15 h 396"/>
                <a:gd name="T32" fmla="*/ 10 w 397"/>
                <a:gd name="T33" fmla="*/ 9 h 396"/>
                <a:gd name="T34" fmla="*/ 15 w 397"/>
                <a:gd name="T35" fmla="*/ 5 h 396"/>
                <a:gd name="T36" fmla="*/ 20 w 397"/>
                <a:gd name="T37" fmla="*/ 2 h 396"/>
                <a:gd name="T38" fmla="*/ 26 w 397"/>
                <a:gd name="T39" fmla="*/ 0 h 396"/>
                <a:gd name="T40" fmla="*/ 33 w 397"/>
                <a:gd name="T41" fmla="*/ 0 h 396"/>
                <a:gd name="T42" fmla="*/ 33 w 397"/>
                <a:gd name="T43" fmla="*/ 0 h 396"/>
                <a:gd name="T44" fmla="*/ 40 w 397"/>
                <a:gd name="T45" fmla="*/ 0 h 396"/>
                <a:gd name="T46" fmla="*/ 46 w 397"/>
                <a:gd name="T47" fmla="*/ 2 h 396"/>
                <a:gd name="T48" fmla="*/ 52 w 397"/>
                <a:gd name="T49" fmla="*/ 5 h 396"/>
                <a:gd name="T50" fmla="*/ 56 w 397"/>
                <a:gd name="T51" fmla="*/ 9 h 396"/>
                <a:gd name="T52" fmla="*/ 60 w 397"/>
                <a:gd name="T53" fmla="*/ 15 h 396"/>
                <a:gd name="T54" fmla="*/ 63 w 397"/>
                <a:gd name="T55" fmla="*/ 20 h 396"/>
                <a:gd name="T56" fmla="*/ 65 w 397"/>
                <a:gd name="T57" fmla="*/ 26 h 396"/>
                <a:gd name="T58" fmla="*/ 66 w 397"/>
                <a:gd name="T59" fmla="*/ 33 h 396"/>
                <a:gd name="T60" fmla="*/ 66 w 397"/>
                <a:gd name="T61" fmla="*/ 330 h 396"/>
                <a:gd name="T62" fmla="*/ 363 w 397"/>
                <a:gd name="T63" fmla="*/ 330 h 396"/>
                <a:gd name="T64" fmla="*/ 363 w 397"/>
                <a:gd name="T65" fmla="*/ 330 h 396"/>
                <a:gd name="T66" fmla="*/ 371 w 397"/>
                <a:gd name="T67" fmla="*/ 331 h 396"/>
                <a:gd name="T68" fmla="*/ 377 w 397"/>
                <a:gd name="T69" fmla="*/ 333 h 396"/>
                <a:gd name="T70" fmla="*/ 382 w 397"/>
                <a:gd name="T71" fmla="*/ 336 h 396"/>
                <a:gd name="T72" fmla="*/ 387 w 397"/>
                <a:gd name="T73" fmla="*/ 340 h 396"/>
                <a:gd name="T74" fmla="*/ 391 w 397"/>
                <a:gd name="T75" fmla="*/ 345 h 396"/>
                <a:gd name="T76" fmla="*/ 395 w 397"/>
                <a:gd name="T77" fmla="*/ 351 h 396"/>
                <a:gd name="T78" fmla="*/ 396 w 397"/>
                <a:gd name="T79" fmla="*/ 357 h 396"/>
                <a:gd name="T80" fmla="*/ 397 w 397"/>
                <a:gd name="T81" fmla="*/ 363 h 396"/>
                <a:gd name="T82" fmla="*/ 397 w 397"/>
                <a:gd name="T83" fmla="*/ 363 h 396"/>
                <a:gd name="T84" fmla="*/ 396 w 397"/>
                <a:gd name="T85" fmla="*/ 370 h 396"/>
                <a:gd name="T86" fmla="*/ 395 w 397"/>
                <a:gd name="T87" fmla="*/ 377 h 396"/>
                <a:gd name="T88" fmla="*/ 391 w 397"/>
                <a:gd name="T89" fmla="*/ 382 h 396"/>
                <a:gd name="T90" fmla="*/ 387 w 397"/>
                <a:gd name="T91" fmla="*/ 387 h 396"/>
                <a:gd name="T92" fmla="*/ 382 w 397"/>
                <a:gd name="T93" fmla="*/ 391 h 396"/>
                <a:gd name="T94" fmla="*/ 377 w 397"/>
                <a:gd name="T95" fmla="*/ 394 h 396"/>
                <a:gd name="T96" fmla="*/ 371 w 397"/>
                <a:gd name="T97" fmla="*/ 395 h 396"/>
                <a:gd name="T98" fmla="*/ 363 w 397"/>
                <a:gd name="T99" fmla="*/ 396 h 396"/>
                <a:gd name="T100" fmla="*/ 363 w 397"/>
                <a:gd name="T101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396">
                  <a:moveTo>
                    <a:pt x="363" y="396"/>
                  </a:moveTo>
                  <a:lnTo>
                    <a:pt x="33" y="396"/>
                  </a:lnTo>
                  <a:lnTo>
                    <a:pt x="33" y="396"/>
                  </a:lnTo>
                  <a:lnTo>
                    <a:pt x="26" y="395"/>
                  </a:lnTo>
                  <a:lnTo>
                    <a:pt x="20" y="394"/>
                  </a:lnTo>
                  <a:lnTo>
                    <a:pt x="15" y="391"/>
                  </a:lnTo>
                  <a:lnTo>
                    <a:pt x="10" y="387"/>
                  </a:lnTo>
                  <a:lnTo>
                    <a:pt x="5" y="382"/>
                  </a:lnTo>
                  <a:lnTo>
                    <a:pt x="2" y="377"/>
                  </a:lnTo>
                  <a:lnTo>
                    <a:pt x="0" y="370"/>
                  </a:lnTo>
                  <a:lnTo>
                    <a:pt x="0" y="36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6" y="9"/>
                  </a:lnTo>
                  <a:lnTo>
                    <a:pt x="60" y="15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330"/>
                  </a:lnTo>
                  <a:lnTo>
                    <a:pt x="363" y="330"/>
                  </a:lnTo>
                  <a:lnTo>
                    <a:pt x="363" y="330"/>
                  </a:lnTo>
                  <a:lnTo>
                    <a:pt x="371" y="331"/>
                  </a:lnTo>
                  <a:lnTo>
                    <a:pt x="377" y="333"/>
                  </a:lnTo>
                  <a:lnTo>
                    <a:pt x="382" y="336"/>
                  </a:lnTo>
                  <a:lnTo>
                    <a:pt x="387" y="340"/>
                  </a:lnTo>
                  <a:lnTo>
                    <a:pt x="391" y="345"/>
                  </a:lnTo>
                  <a:lnTo>
                    <a:pt x="395" y="351"/>
                  </a:lnTo>
                  <a:lnTo>
                    <a:pt x="396" y="357"/>
                  </a:lnTo>
                  <a:lnTo>
                    <a:pt x="397" y="363"/>
                  </a:lnTo>
                  <a:lnTo>
                    <a:pt x="397" y="363"/>
                  </a:lnTo>
                  <a:lnTo>
                    <a:pt x="396" y="370"/>
                  </a:lnTo>
                  <a:lnTo>
                    <a:pt x="395" y="377"/>
                  </a:lnTo>
                  <a:lnTo>
                    <a:pt x="391" y="382"/>
                  </a:lnTo>
                  <a:lnTo>
                    <a:pt x="387" y="387"/>
                  </a:lnTo>
                  <a:lnTo>
                    <a:pt x="382" y="391"/>
                  </a:lnTo>
                  <a:lnTo>
                    <a:pt x="377" y="394"/>
                  </a:lnTo>
                  <a:lnTo>
                    <a:pt x="371" y="395"/>
                  </a:lnTo>
                  <a:lnTo>
                    <a:pt x="363" y="396"/>
                  </a:lnTo>
                  <a:lnTo>
                    <a:pt x="363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96B35195-4FD4-4FD2-AACB-78D865876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613" y="2671763"/>
              <a:ext cx="68263" cy="68263"/>
            </a:xfrm>
            <a:custGeom>
              <a:avLst/>
              <a:gdLst>
                <a:gd name="T0" fmla="*/ 265 w 298"/>
                <a:gd name="T1" fmla="*/ 298 h 298"/>
                <a:gd name="T2" fmla="*/ 33 w 298"/>
                <a:gd name="T3" fmla="*/ 298 h 298"/>
                <a:gd name="T4" fmla="*/ 33 w 298"/>
                <a:gd name="T5" fmla="*/ 298 h 298"/>
                <a:gd name="T6" fmla="*/ 27 w 298"/>
                <a:gd name="T7" fmla="*/ 296 h 298"/>
                <a:gd name="T8" fmla="*/ 21 w 298"/>
                <a:gd name="T9" fmla="*/ 294 h 298"/>
                <a:gd name="T10" fmla="*/ 15 w 298"/>
                <a:gd name="T11" fmla="*/ 291 h 298"/>
                <a:gd name="T12" fmla="*/ 10 w 298"/>
                <a:gd name="T13" fmla="*/ 287 h 298"/>
                <a:gd name="T14" fmla="*/ 6 w 298"/>
                <a:gd name="T15" fmla="*/ 282 h 298"/>
                <a:gd name="T16" fmla="*/ 3 w 298"/>
                <a:gd name="T17" fmla="*/ 277 h 298"/>
                <a:gd name="T18" fmla="*/ 1 w 298"/>
                <a:gd name="T19" fmla="*/ 271 h 298"/>
                <a:gd name="T20" fmla="*/ 0 w 298"/>
                <a:gd name="T21" fmla="*/ 264 h 298"/>
                <a:gd name="T22" fmla="*/ 0 w 298"/>
                <a:gd name="T23" fmla="*/ 33 h 298"/>
                <a:gd name="T24" fmla="*/ 0 w 298"/>
                <a:gd name="T25" fmla="*/ 33 h 298"/>
                <a:gd name="T26" fmla="*/ 1 w 298"/>
                <a:gd name="T27" fmla="*/ 26 h 298"/>
                <a:gd name="T28" fmla="*/ 3 w 298"/>
                <a:gd name="T29" fmla="*/ 20 h 298"/>
                <a:gd name="T30" fmla="*/ 6 w 298"/>
                <a:gd name="T31" fmla="*/ 14 h 298"/>
                <a:gd name="T32" fmla="*/ 10 w 298"/>
                <a:gd name="T33" fmla="*/ 9 h 298"/>
                <a:gd name="T34" fmla="*/ 15 w 298"/>
                <a:gd name="T35" fmla="*/ 6 h 298"/>
                <a:gd name="T36" fmla="*/ 21 w 298"/>
                <a:gd name="T37" fmla="*/ 3 h 298"/>
                <a:gd name="T38" fmla="*/ 27 w 298"/>
                <a:gd name="T39" fmla="*/ 1 h 298"/>
                <a:gd name="T40" fmla="*/ 33 w 298"/>
                <a:gd name="T41" fmla="*/ 0 h 298"/>
                <a:gd name="T42" fmla="*/ 33 w 298"/>
                <a:gd name="T43" fmla="*/ 0 h 298"/>
                <a:gd name="T44" fmla="*/ 40 w 298"/>
                <a:gd name="T45" fmla="*/ 1 h 298"/>
                <a:gd name="T46" fmla="*/ 47 w 298"/>
                <a:gd name="T47" fmla="*/ 3 h 298"/>
                <a:gd name="T48" fmla="*/ 52 w 298"/>
                <a:gd name="T49" fmla="*/ 6 h 298"/>
                <a:gd name="T50" fmla="*/ 57 w 298"/>
                <a:gd name="T51" fmla="*/ 9 h 298"/>
                <a:gd name="T52" fmla="*/ 61 w 298"/>
                <a:gd name="T53" fmla="*/ 14 h 298"/>
                <a:gd name="T54" fmla="*/ 64 w 298"/>
                <a:gd name="T55" fmla="*/ 20 h 298"/>
                <a:gd name="T56" fmla="*/ 66 w 298"/>
                <a:gd name="T57" fmla="*/ 26 h 298"/>
                <a:gd name="T58" fmla="*/ 66 w 298"/>
                <a:gd name="T59" fmla="*/ 33 h 298"/>
                <a:gd name="T60" fmla="*/ 66 w 298"/>
                <a:gd name="T61" fmla="*/ 231 h 298"/>
                <a:gd name="T62" fmla="*/ 265 w 298"/>
                <a:gd name="T63" fmla="*/ 231 h 298"/>
                <a:gd name="T64" fmla="*/ 265 w 298"/>
                <a:gd name="T65" fmla="*/ 231 h 298"/>
                <a:gd name="T66" fmla="*/ 271 w 298"/>
                <a:gd name="T67" fmla="*/ 231 h 298"/>
                <a:gd name="T68" fmla="*/ 277 w 298"/>
                <a:gd name="T69" fmla="*/ 233 h 298"/>
                <a:gd name="T70" fmla="*/ 284 w 298"/>
                <a:gd name="T71" fmla="*/ 236 h 298"/>
                <a:gd name="T72" fmla="*/ 289 w 298"/>
                <a:gd name="T73" fmla="*/ 241 h 298"/>
                <a:gd name="T74" fmla="*/ 292 w 298"/>
                <a:gd name="T75" fmla="*/ 246 h 298"/>
                <a:gd name="T76" fmla="*/ 295 w 298"/>
                <a:gd name="T77" fmla="*/ 251 h 298"/>
                <a:gd name="T78" fmla="*/ 297 w 298"/>
                <a:gd name="T79" fmla="*/ 257 h 298"/>
                <a:gd name="T80" fmla="*/ 298 w 298"/>
                <a:gd name="T81" fmla="*/ 264 h 298"/>
                <a:gd name="T82" fmla="*/ 298 w 298"/>
                <a:gd name="T83" fmla="*/ 264 h 298"/>
                <a:gd name="T84" fmla="*/ 297 w 298"/>
                <a:gd name="T85" fmla="*/ 271 h 298"/>
                <a:gd name="T86" fmla="*/ 295 w 298"/>
                <a:gd name="T87" fmla="*/ 277 h 298"/>
                <a:gd name="T88" fmla="*/ 292 w 298"/>
                <a:gd name="T89" fmla="*/ 282 h 298"/>
                <a:gd name="T90" fmla="*/ 289 w 298"/>
                <a:gd name="T91" fmla="*/ 287 h 298"/>
                <a:gd name="T92" fmla="*/ 284 w 298"/>
                <a:gd name="T93" fmla="*/ 291 h 298"/>
                <a:gd name="T94" fmla="*/ 277 w 298"/>
                <a:gd name="T95" fmla="*/ 294 h 298"/>
                <a:gd name="T96" fmla="*/ 271 w 298"/>
                <a:gd name="T97" fmla="*/ 296 h 298"/>
                <a:gd name="T98" fmla="*/ 265 w 298"/>
                <a:gd name="T99" fmla="*/ 298 h 298"/>
                <a:gd name="T100" fmla="*/ 265 w 298"/>
                <a:gd name="T101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8" h="298">
                  <a:moveTo>
                    <a:pt x="265" y="298"/>
                  </a:moveTo>
                  <a:lnTo>
                    <a:pt x="33" y="298"/>
                  </a:lnTo>
                  <a:lnTo>
                    <a:pt x="33" y="298"/>
                  </a:lnTo>
                  <a:lnTo>
                    <a:pt x="27" y="296"/>
                  </a:lnTo>
                  <a:lnTo>
                    <a:pt x="21" y="294"/>
                  </a:lnTo>
                  <a:lnTo>
                    <a:pt x="15" y="291"/>
                  </a:lnTo>
                  <a:lnTo>
                    <a:pt x="10" y="287"/>
                  </a:lnTo>
                  <a:lnTo>
                    <a:pt x="6" y="282"/>
                  </a:lnTo>
                  <a:lnTo>
                    <a:pt x="3" y="277"/>
                  </a:lnTo>
                  <a:lnTo>
                    <a:pt x="1" y="271"/>
                  </a:lnTo>
                  <a:lnTo>
                    <a:pt x="0" y="26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9"/>
                  </a:lnTo>
                  <a:lnTo>
                    <a:pt x="15" y="6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7" y="9"/>
                  </a:lnTo>
                  <a:lnTo>
                    <a:pt x="61" y="14"/>
                  </a:lnTo>
                  <a:lnTo>
                    <a:pt x="64" y="20"/>
                  </a:lnTo>
                  <a:lnTo>
                    <a:pt x="66" y="26"/>
                  </a:lnTo>
                  <a:lnTo>
                    <a:pt x="66" y="33"/>
                  </a:lnTo>
                  <a:lnTo>
                    <a:pt x="66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71" y="231"/>
                  </a:lnTo>
                  <a:lnTo>
                    <a:pt x="277" y="233"/>
                  </a:lnTo>
                  <a:lnTo>
                    <a:pt x="284" y="236"/>
                  </a:lnTo>
                  <a:lnTo>
                    <a:pt x="289" y="241"/>
                  </a:lnTo>
                  <a:lnTo>
                    <a:pt x="292" y="246"/>
                  </a:lnTo>
                  <a:lnTo>
                    <a:pt x="295" y="251"/>
                  </a:lnTo>
                  <a:lnTo>
                    <a:pt x="297" y="257"/>
                  </a:lnTo>
                  <a:lnTo>
                    <a:pt x="298" y="264"/>
                  </a:lnTo>
                  <a:lnTo>
                    <a:pt x="298" y="264"/>
                  </a:lnTo>
                  <a:lnTo>
                    <a:pt x="297" y="271"/>
                  </a:lnTo>
                  <a:lnTo>
                    <a:pt x="295" y="277"/>
                  </a:lnTo>
                  <a:lnTo>
                    <a:pt x="292" y="282"/>
                  </a:lnTo>
                  <a:lnTo>
                    <a:pt x="289" y="287"/>
                  </a:lnTo>
                  <a:lnTo>
                    <a:pt x="284" y="291"/>
                  </a:lnTo>
                  <a:lnTo>
                    <a:pt x="277" y="294"/>
                  </a:lnTo>
                  <a:lnTo>
                    <a:pt x="271" y="296"/>
                  </a:lnTo>
                  <a:lnTo>
                    <a:pt x="265" y="298"/>
                  </a:lnTo>
                  <a:lnTo>
                    <a:pt x="265" y="298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">
              <a:extLst>
                <a:ext uri="{FF2B5EF4-FFF2-40B4-BE49-F238E27FC236}">
                  <a16:creationId xmlns:a16="http://schemas.microsoft.com/office/drawing/2014/main" id="{AFF29D16-24B3-4E27-BD6B-87F4F72DB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938" y="2641600"/>
              <a:ext cx="38100" cy="38100"/>
            </a:xfrm>
            <a:custGeom>
              <a:avLst/>
              <a:gdLst>
                <a:gd name="T0" fmla="*/ 133 w 166"/>
                <a:gd name="T1" fmla="*/ 166 h 166"/>
                <a:gd name="T2" fmla="*/ 33 w 166"/>
                <a:gd name="T3" fmla="*/ 166 h 166"/>
                <a:gd name="T4" fmla="*/ 33 w 166"/>
                <a:gd name="T5" fmla="*/ 166 h 166"/>
                <a:gd name="T6" fmla="*/ 26 w 166"/>
                <a:gd name="T7" fmla="*/ 165 h 166"/>
                <a:gd name="T8" fmla="*/ 20 w 166"/>
                <a:gd name="T9" fmla="*/ 164 h 166"/>
                <a:gd name="T10" fmla="*/ 15 w 166"/>
                <a:gd name="T11" fmla="*/ 160 h 166"/>
                <a:gd name="T12" fmla="*/ 9 w 166"/>
                <a:gd name="T13" fmla="*/ 156 h 166"/>
                <a:gd name="T14" fmla="*/ 5 w 166"/>
                <a:gd name="T15" fmla="*/ 151 h 166"/>
                <a:gd name="T16" fmla="*/ 2 w 166"/>
                <a:gd name="T17" fmla="*/ 146 h 166"/>
                <a:gd name="T18" fmla="*/ 1 w 166"/>
                <a:gd name="T19" fmla="*/ 140 h 166"/>
                <a:gd name="T20" fmla="*/ 0 w 166"/>
                <a:gd name="T21" fmla="*/ 133 h 166"/>
                <a:gd name="T22" fmla="*/ 0 w 166"/>
                <a:gd name="T23" fmla="*/ 33 h 166"/>
                <a:gd name="T24" fmla="*/ 0 w 166"/>
                <a:gd name="T25" fmla="*/ 33 h 166"/>
                <a:gd name="T26" fmla="*/ 1 w 166"/>
                <a:gd name="T27" fmla="*/ 27 h 166"/>
                <a:gd name="T28" fmla="*/ 2 w 166"/>
                <a:gd name="T29" fmla="*/ 21 h 166"/>
                <a:gd name="T30" fmla="*/ 5 w 166"/>
                <a:gd name="T31" fmla="*/ 15 h 166"/>
                <a:gd name="T32" fmla="*/ 9 w 166"/>
                <a:gd name="T33" fmla="*/ 10 h 166"/>
                <a:gd name="T34" fmla="*/ 15 w 166"/>
                <a:gd name="T35" fmla="*/ 6 h 166"/>
                <a:gd name="T36" fmla="*/ 20 w 166"/>
                <a:gd name="T37" fmla="*/ 3 h 166"/>
                <a:gd name="T38" fmla="*/ 26 w 166"/>
                <a:gd name="T39" fmla="*/ 1 h 166"/>
                <a:gd name="T40" fmla="*/ 33 w 166"/>
                <a:gd name="T41" fmla="*/ 0 h 166"/>
                <a:gd name="T42" fmla="*/ 33 w 166"/>
                <a:gd name="T43" fmla="*/ 0 h 166"/>
                <a:gd name="T44" fmla="*/ 39 w 166"/>
                <a:gd name="T45" fmla="*/ 1 h 166"/>
                <a:gd name="T46" fmla="*/ 46 w 166"/>
                <a:gd name="T47" fmla="*/ 3 h 166"/>
                <a:gd name="T48" fmla="*/ 52 w 166"/>
                <a:gd name="T49" fmla="*/ 6 h 166"/>
                <a:gd name="T50" fmla="*/ 56 w 166"/>
                <a:gd name="T51" fmla="*/ 10 h 166"/>
                <a:gd name="T52" fmla="*/ 60 w 166"/>
                <a:gd name="T53" fmla="*/ 15 h 166"/>
                <a:gd name="T54" fmla="*/ 63 w 166"/>
                <a:gd name="T55" fmla="*/ 21 h 166"/>
                <a:gd name="T56" fmla="*/ 65 w 166"/>
                <a:gd name="T57" fmla="*/ 27 h 166"/>
                <a:gd name="T58" fmla="*/ 66 w 166"/>
                <a:gd name="T59" fmla="*/ 33 h 166"/>
                <a:gd name="T60" fmla="*/ 66 w 166"/>
                <a:gd name="T61" fmla="*/ 99 h 166"/>
                <a:gd name="T62" fmla="*/ 133 w 166"/>
                <a:gd name="T63" fmla="*/ 99 h 166"/>
                <a:gd name="T64" fmla="*/ 133 w 166"/>
                <a:gd name="T65" fmla="*/ 99 h 166"/>
                <a:gd name="T66" fmla="*/ 139 w 166"/>
                <a:gd name="T67" fmla="*/ 100 h 166"/>
                <a:gd name="T68" fmla="*/ 145 w 166"/>
                <a:gd name="T69" fmla="*/ 103 h 166"/>
                <a:gd name="T70" fmla="*/ 151 w 166"/>
                <a:gd name="T71" fmla="*/ 106 h 166"/>
                <a:gd name="T72" fmla="*/ 155 w 166"/>
                <a:gd name="T73" fmla="*/ 109 h 166"/>
                <a:gd name="T74" fmla="*/ 159 w 166"/>
                <a:gd name="T75" fmla="*/ 114 h 166"/>
                <a:gd name="T76" fmla="*/ 163 w 166"/>
                <a:gd name="T77" fmla="*/ 120 h 166"/>
                <a:gd name="T78" fmla="*/ 165 w 166"/>
                <a:gd name="T79" fmla="*/ 126 h 166"/>
                <a:gd name="T80" fmla="*/ 166 w 166"/>
                <a:gd name="T81" fmla="*/ 133 h 166"/>
                <a:gd name="T82" fmla="*/ 166 w 166"/>
                <a:gd name="T83" fmla="*/ 133 h 166"/>
                <a:gd name="T84" fmla="*/ 165 w 166"/>
                <a:gd name="T85" fmla="*/ 140 h 166"/>
                <a:gd name="T86" fmla="*/ 163 w 166"/>
                <a:gd name="T87" fmla="*/ 146 h 166"/>
                <a:gd name="T88" fmla="*/ 159 w 166"/>
                <a:gd name="T89" fmla="*/ 151 h 166"/>
                <a:gd name="T90" fmla="*/ 155 w 166"/>
                <a:gd name="T91" fmla="*/ 156 h 166"/>
                <a:gd name="T92" fmla="*/ 151 w 166"/>
                <a:gd name="T93" fmla="*/ 160 h 166"/>
                <a:gd name="T94" fmla="*/ 145 w 166"/>
                <a:gd name="T95" fmla="*/ 164 h 166"/>
                <a:gd name="T96" fmla="*/ 139 w 166"/>
                <a:gd name="T97" fmla="*/ 165 h 166"/>
                <a:gd name="T98" fmla="*/ 133 w 166"/>
                <a:gd name="T99" fmla="*/ 166 h 166"/>
                <a:gd name="T100" fmla="*/ 133 w 166"/>
                <a:gd name="T10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166">
                  <a:moveTo>
                    <a:pt x="133" y="166"/>
                  </a:moveTo>
                  <a:lnTo>
                    <a:pt x="33" y="166"/>
                  </a:lnTo>
                  <a:lnTo>
                    <a:pt x="33" y="166"/>
                  </a:lnTo>
                  <a:lnTo>
                    <a:pt x="26" y="165"/>
                  </a:lnTo>
                  <a:lnTo>
                    <a:pt x="20" y="164"/>
                  </a:lnTo>
                  <a:lnTo>
                    <a:pt x="15" y="160"/>
                  </a:lnTo>
                  <a:lnTo>
                    <a:pt x="9" y="156"/>
                  </a:lnTo>
                  <a:lnTo>
                    <a:pt x="5" y="151"/>
                  </a:lnTo>
                  <a:lnTo>
                    <a:pt x="2" y="146"/>
                  </a:lnTo>
                  <a:lnTo>
                    <a:pt x="1" y="140"/>
                  </a:lnTo>
                  <a:lnTo>
                    <a:pt x="0" y="1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2" y="21"/>
                  </a:lnTo>
                  <a:lnTo>
                    <a:pt x="5" y="15"/>
                  </a:lnTo>
                  <a:lnTo>
                    <a:pt x="9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1"/>
                  </a:lnTo>
                  <a:lnTo>
                    <a:pt x="46" y="3"/>
                  </a:lnTo>
                  <a:lnTo>
                    <a:pt x="52" y="6"/>
                  </a:lnTo>
                  <a:lnTo>
                    <a:pt x="56" y="10"/>
                  </a:lnTo>
                  <a:lnTo>
                    <a:pt x="60" y="15"/>
                  </a:lnTo>
                  <a:lnTo>
                    <a:pt x="63" y="21"/>
                  </a:lnTo>
                  <a:lnTo>
                    <a:pt x="65" y="27"/>
                  </a:lnTo>
                  <a:lnTo>
                    <a:pt x="66" y="33"/>
                  </a:lnTo>
                  <a:lnTo>
                    <a:pt x="66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9" y="100"/>
                  </a:lnTo>
                  <a:lnTo>
                    <a:pt x="145" y="103"/>
                  </a:lnTo>
                  <a:lnTo>
                    <a:pt x="151" y="106"/>
                  </a:lnTo>
                  <a:lnTo>
                    <a:pt x="155" y="109"/>
                  </a:lnTo>
                  <a:lnTo>
                    <a:pt x="159" y="114"/>
                  </a:lnTo>
                  <a:lnTo>
                    <a:pt x="163" y="120"/>
                  </a:lnTo>
                  <a:lnTo>
                    <a:pt x="165" y="126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5" y="140"/>
                  </a:lnTo>
                  <a:lnTo>
                    <a:pt x="163" y="146"/>
                  </a:lnTo>
                  <a:lnTo>
                    <a:pt x="159" y="151"/>
                  </a:lnTo>
                  <a:lnTo>
                    <a:pt x="155" y="156"/>
                  </a:lnTo>
                  <a:lnTo>
                    <a:pt x="151" y="160"/>
                  </a:lnTo>
                  <a:lnTo>
                    <a:pt x="145" y="164"/>
                  </a:lnTo>
                  <a:lnTo>
                    <a:pt x="139" y="165"/>
                  </a:lnTo>
                  <a:lnTo>
                    <a:pt x="133" y="166"/>
                  </a:lnTo>
                  <a:lnTo>
                    <a:pt x="133" y="16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05FE540E-302B-4D1E-B5E6-EF68ACE38AD8}"/>
              </a:ext>
            </a:extLst>
          </p:cNvPr>
          <p:cNvGrpSpPr/>
          <p:nvPr/>
        </p:nvGrpSpPr>
        <p:grpSpPr>
          <a:xfrm>
            <a:off x="6722551" y="2297536"/>
            <a:ext cx="292100" cy="344488"/>
            <a:chOff x="8464550" y="1825625"/>
            <a:chExt cx="292100" cy="344488"/>
          </a:xfrm>
        </p:grpSpPr>
        <p:sp>
          <p:nvSpPr>
            <p:cNvPr id="99" name="Freeform 118">
              <a:extLst>
                <a:ext uri="{FF2B5EF4-FFF2-40B4-BE49-F238E27FC236}">
                  <a16:creationId xmlns:a16="http://schemas.microsoft.com/office/drawing/2014/main" id="{A030EC6D-4141-4296-8B1A-3C327632D8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5038" y="2065338"/>
              <a:ext cx="149225" cy="104775"/>
            </a:xfrm>
            <a:custGeom>
              <a:avLst/>
              <a:gdLst>
                <a:gd name="T0" fmla="*/ 496 w 661"/>
                <a:gd name="T1" fmla="*/ 462 h 462"/>
                <a:gd name="T2" fmla="*/ 165 w 661"/>
                <a:gd name="T3" fmla="*/ 462 h 462"/>
                <a:gd name="T4" fmla="*/ 165 w 661"/>
                <a:gd name="T5" fmla="*/ 462 h 462"/>
                <a:gd name="T6" fmla="*/ 160 w 661"/>
                <a:gd name="T7" fmla="*/ 461 h 462"/>
                <a:gd name="T8" fmla="*/ 154 w 661"/>
                <a:gd name="T9" fmla="*/ 460 h 462"/>
                <a:gd name="T10" fmla="*/ 150 w 661"/>
                <a:gd name="T11" fmla="*/ 458 h 462"/>
                <a:gd name="T12" fmla="*/ 145 w 661"/>
                <a:gd name="T13" fmla="*/ 456 h 462"/>
                <a:gd name="T14" fmla="*/ 142 w 661"/>
                <a:gd name="T15" fmla="*/ 453 h 462"/>
                <a:gd name="T16" fmla="*/ 138 w 661"/>
                <a:gd name="T17" fmla="*/ 449 h 462"/>
                <a:gd name="T18" fmla="*/ 136 w 661"/>
                <a:gd name="T19" fmla="*/ 445 h 462"/>
                <a:gd name="T20" fmla="*/ 134 w 661"/>
                <a:gd name="T21" fmla="*/ 439 h 462"/>
                <a:gd name="T22" fmla="*/ 1 w 661"/>
                <a:gd name="T23" fmla="*/ 43 h 462"/>
                <a:gd name="T24" fmla="*/ 1 w 661"/>
                <a:gd name="T25" fmla="*/ 43 h 462"/>
                <a:gd name="T26" fmla="*/ 0 w 661"/>
                <a:gd name="T27" fmla="*/ 35 h 462"/>
                <a:gd name="T28" fmla="*/ 0 w 661"/>
                <a:gd name="T29" fmla="*/ 28 h 462"/>
                <a:gd name="T30" fmla="*/ 2 w 661"/>
                <a:gd name="T31" fmla="*/ 19 h 462"/>
                <a:gd name="T32" fmla="*/ 5 w 661"/>
                <a:gd name="T33" fmla="*/ 13 h 462"/>
                <a:gd name="T34" fmla="*/ 5 w 661"/>
                <a:gd name="T35" fmla="*/ 13 h 462"/>
                <a:gd name="T36" fmla="*/ 12 w 661"/>
                <a:gd name="T37" fmla="*/ 7 h 462"/>
                <a:gd name="T38" fmla="*/ 18 w 661"/>
                <a:gd name="T39" fmla="*/ 3 h 462"/>
                <a:gd name="T40" fmla="*/ 25 w 661"/>
                <a:gd name="T41" fmla="*/ 0 h 462"/>
                <a:gd name="T42" fmla="*/ 32 w 661"/>
                <a:gd name="T43" fmla="*/ 0 h 462"/>
                <a:gd name="T44" fmla="*/ 627 w 661"/>
                <a:gd name="T45" fmla="*/ 0 h 462"/>
                <a:gd name="T46" fmla="*/ 627 w 661"/>
                <a:gd name="T47" fmla="*/ 0 h 462"/>
                <a:gd name="T48" fmla="*/ 636 w 661"/>
                <a:gd name="T49" fmla="*/ 0 h 462"/>
                <a:gd name="T50" fmla="*/ 643 w 661"/>
                <a:gd name="T51" fmla="*/ 3 h 462"/>
                <a:gd name="T52" fmla="*/ 649 w 661"/>
                <a:gd name="T53" fmla="*/ 7 h 462"/>
                <a:gd name="T54" fmla="*/ 654 w 661"/>
                <a:gd name="T55" fmla="*/ 13 h 462"/>
                <a:gd name="T56" fmla="*/ 654 w 661"/>
                <a:gd name="T57" fmla="*/ 13 h 462"/>
                <a:gd name="T58" fmla="*/ 658 w 661"/>
                <a:gd name="T59" fmla="*/ 19 h 462"/>
                <a:gd name="T60" fmla="*/ 661 w 661"/>
                <a:gd name="T61" fmla="*/ 28 h 462"/>
                <a:gd name="T62" fmla="*/ 661 w 661"/>
                <a:gd name="T63" fmla="*/ 35 h 462"/>
                <a:gd name="T64" fmla="*/ 660 w 661"/>
                <a:gd name="T65" fmla="*/ 43 h 462"/>
                <a:gd name="T66" fmla="*/ 527 w 661"/>
                <a:gd name="T67" fmla="*/ 439 h 462"/>
                <a:gd name="T68" fmla="*/ 527 w 661"/>
                <a:gd name="T69" fmla="*/ 439 h 462"/>
                <a:gd name="T70" fmla="*/ 525 w 661"/>
                <a:gd name="T71" fmla="*/ 445 h 462"/>
                <a:gd name="T72" fmla="*/ 522 w 661"/>
                <a:gd name="T73" fmla="*/ 449 h 462"/>
                <a:gd name="T74" fmla="*/ 519 w 661"/>
                <a:gd name="T75" fmla="*/ 453 h 462"/>
                <a:gd name="T76" fmla="*/ 515 w 661"/>
                <a:gd name="T77" fmla="*/ 456 h 462"/>
                <a:gd name="T78" fmla="*/ 510 w 661"/>
                <a:gd name="T79" fmla="*/ 458 h 462"/>
                <a:gd name="T80" fmla="*/ 506 w 661"/>
                <a:gd name="T81" fmla="*/ 460 h 462"/>
                <a:gd name="T82" fmla="*/ 501 w 661"/>
                <a:gd name="T83" fmla="*/ 461 h 462"/>
                <a:gd name="T84" fmla="*/ 496 w 661"/>
                <a:gd name="T85" fmla="*/ 462 h 462"/>
                <a:gd name="T86" fmla="*/ 496 w 661"/>
                <a:gd name="T87" fmla="*/ 462 h 462"/>
                <a:gd name="T88" fmla="*/ 189 w 661"/>
                <a:gd name="T89" fmla="*/ 396 h 462"/>
                <a:gd name="T90" fmla="*/ 472 w 661"/>
                <a:gd name="T91" fmla="*/ 396 h 462"/>
                <a:gd name="T92" fmla="*/ 582 w 661"/>
                <a:gd name="T93" fmla="*/ 65 h 462"/>
                <a:gd name="T94" fmla="*/ 79 w 661"/>
                <a:gd name="T95" fmla="*/ 65 h 462"/>
                <a:gd name="T96" fmla="*/ 189 w 661"/>
                <a:gd name="T97" fmla="*/ 39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1" h="462">
                  <a:moveTo>
                    <a:pt x="496" y="462"/>
                  </a:moveTo>
                  <a:lnTo>
                    <a:pt x="165" y="462"/>
                  </a:lnTo>
                  <a:lnTo>
                    <a:pt x="165" y="462"/>
                  </a:lnTo>
                  <a:lnTo>
                    <a:pt x="160" y="461"/>
                  </a:lnTo>
                  <a:lnTo>
                    <a:pt x="154" y="460"/>
                  </a:lnTo>
                  <a:lnTo>
                    <a:pt x="150" y="458"/>
                  </a:lnTo>
                  <a:lnTo>
                    <a:pt x="145" y="456"/>
                  </a:lnTo>
                  <a:lnTo>
                    <a:pt x="142" y="453"/>
                  </a:lnTo>
                  <a:lnTo>
                    <a:pt x="138" y="449"/>
                  </a:lnTo>
                  <a:lnTo>
                    <a:pt x="136" y="445"/>
                  </a:lnTo>
                  <a:lnTo>
                    <a:pt x="134" y="439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19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12" y="7"/>
                  </a:lnTo>
                  <a:lnTo>
                    <a:pt x="18" y="3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627" y="0"/>
                  </a:lnTo>
                  <a:lnTo>
                    <a:pt x="627" y="0"/>
                  </a:lnTo>
                  <a:lnTo>
                    <a:pt x="636" y="0"/>
                  </a:lnTo>
                  <a:lnTo>
                    <a:pt x="643" y="3"/>
                  </a:lnTo>
                  <a:lnTo>
                    <a:pt x="649" y="7"/>
                  </a:lnTo>
                  <a:lnTo>
                    <a:pt x="654" y="13"/>
                  </a:lnTo>
                  <a:lnTo>
                    <a:pt x="654" y="13"/>
                  </a:lnTo>
                  <a:lnTo>
                    <a:pt x="658" y="19"/>
                  </a:lnTo>
                  <a:lnTo>
                    <a:pt x="661" y="28"/>
                  </a:lnTo>
                  <a:lnTo>
                    <a:pt x="661" y="35"/>
                  </a:lnTo>
                  <a:lnTo>
                    <a:pt x="660" y="43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5" y="445"/>
                  </a:lnTo>
                  <a:lnTo>
                    <a:pt x="522" y="449"/>
                  </a:lnTo>
                  <a:lnTo>
                    <a:pt x="519" y="453"/>
                  </a:lnTo>
                  <a:lnTo>
                    <a:pt x="515" y="456"/>
                  </a:lnTo>
                  <a:lnTo>
                    <a:pt x="510" y="458"/>
                  </a:lnTo>
                  <a:lnTo>
                    <a:pt x="506" y="460"/>
                  </a:lnTo>
                  <a:lnTo>
                    <a:pt x="501" y="461"/>
                  </a:lnTo>
                  <a:lnTo>
                    <a:pt x="496" y="462"/>
                  </a:lnTo>
                  <a:lnTo>
                    <a:pt x="496" y="462"/>
                  </a:lnTo>
                  <a:close/>
                  <a:moveTo>
                    <a:pt x="189" y="396"/>
                  </a:moveTo>
                  <a:lnTo>
                    <a:pt x="472" y="396"/>
                  </a:lnTo>
                  <a:lnTo>
                    <a:pt x="582" y="65"/>
                  </a:lnTo>
                  <a:lnTo>
                    <a:pt x="79" y="65"/>
                  </a:lnTo>
                  <a:lnTo>
                    <a:pt x="189" y="396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19">
              <a:extLst>
                <a:ext uri="{FF2B5EF4-FFF2-40B4-BE49-F238E27FC236}">
                  <a16:creationId xmlns:a16="http://schemas.microsoft.com/office/drawing/2014/main" id="{8D0BB7C2-7F29-43C9-BBEF-AD3A8AFFA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2825" y="1909763"/>
              <a:ext cx="123825" cy="139700"/>
            </a:xfrm>
            <a:custGeom>
              <a:avLst/>
              <a:gdLst>
                <a:gd name="T0" fmla="*/ 237 w 546"/>
                <a:gd name="T1" fmla="*/ 608 h 610"/>
                <a:gd name="T2" fmla="*/ 193 w 546"/>
                <a:gd name="T3" fmla="*/ 593 h 610"/>
                <a:gd name="T4" fmla="*/ 155 w 546"/>
                <a:gd name="T5" fmla="*/ 565 h 610"/>
                <a:gd name="T6" fmla="*/ 118 w 546"/>
                <a:gd name="T7" fmla="*/ 519 h 610"/>
                <a:gd name="T8" fmla="*/ 93 w 546"/>
                <a:gd name="T9" fmla="*/ 471 h 610"/>
                <a:gd name="T10" fmla="*/ 46 w 546"/>
                <a:gd name="T11" fmla="*/ 429 h 610"/>
                <a:gd name="T12" fmla="*/ 17 w 546"/>
                <a:gd name="T13" fmla="*/ 388 h 610"/>
                <a:gd name="T14" fmla="*/ 4 w 546"/>
                <a:gd name="T15" fmla="*/ 351 h 610"/>
                <a:gd name="T16" fmla="*/ 1 w 546"/>
                <a:gd name="T17" fmla="*/ 307 h 610"/>
                <a:gd name="T18" fmla="*/ 10 w 546"/>
                <a:gd name="T19" fmla="*/ 263 h 610"/>
                <a:gd name="T20" fmla="*/ 34 w 546"/>
                <a:gd name="T21" fmla="*/ 220 h 610"/>
                <a:gd name="T22" fmla="*/ 68 w 546"/>
                <a:gd name="T23" fmla="*/ 182 h 610"/>
                <a:gd name="T24" fmla="*/ 101 w 546"/>
                <a:gd name="T25" fmla="*/ 156 h 610"/>
                <a:gd name="T26" fmla="*/ 165 w 546"/>
                <a:gd name="T27" fmla="*/ 123 h 610"/>
                <a:gd name="T28" fmla="*/ 271 w 546"/>
                <a:gd name="T29" fmla="*/ 90 h 610"/>
                <a:gd name="T30" fmla="*/ 366 w 546"/>
                <a:gd name="T31" fmla="*/ 61 h 610"/>
                <a:gd name="T32" fmla="*/ 465 w 546"/>
                <a:gd name="T33" fmla="*/ 6 h 610"/>
                <a:gd name="T34" fmla="*/ 485 w 546"/>
                <a:gd name="T35" fmla="*/ 0 h 610"/>
                <a:gd name="T36" fmla="*/ 506 w 546"/>
                <a:gd name="T37" fmla="*/ 7 h 610"/>
                <a:gd name="T38" fmla="*/ 520 w 546"/>
                <a:gd name="T39" fmla="*/ 33 h 610"/>
                <a:gd name="T40" fmla="*/ 538 w 546"/>
                <a:gd name="T41" fmla="*/ 96 h 610"/>
                <a:gd name="T42" fmla="*/ 546 w 546"/>
                <a:gd name="T43" fmla="*/ 183 h 610"/>
                <a:gd name="T44" fmla="*/ 531 w 546"/>
                <a:gd name="T45" fmla="*/ 327 h 610"/>
                <a:gd name="T46" fmla="*/ 488 w 546"/>
                <a:gd name="T47" fmla="*/ 453 h 610"/>
                <a:gd name="T48" fmla="*/ 451 w 546"/>
                <a:gd name="T49" fmla="*/ 513 h 610"/>
                <a:gd name="T50" fmla="*/ 401 w 546"/>
                <a:gd name="T51" fmla="*/ 560 h 610"/>
                <a:gd name="T52" fmla="*/ 334 w 546"/>
                <a:gd name="T53" fmla="*/ 598 h 610"/>
                <a:gd name="T54" fmla="*/ 289 w 546"/>
                <a:gd name="T55" fmla="*/ 609 h 610"/>
                <a:gd name="T56" fmla="*/ 139 w 546"/>
                <a:gd name="T57" fmla="*/ 212 h 610"/>
                <a:gd name="T58" fmla="*/ 96 w 546"/>
                <a:gd name="T59" fmla="*/ 249 h 610"/>
                <a:gd name="T60" fmla="*/ 67 w 546"/>
                <a:gd name="T61" fmla="*/ 304 h 610"/>
                <a:gd name="T62" fmla="*/ 68 w 546"/>
                <a:gd name="T63" fmla="*/ 334 h 610"/>
                <a:gd name="T64" fmla="*/ 81 w 546"/>
                <a:gd name="T65" fmla="*/ 365 h 610"/>
                <a:gd name="T66" fmla="*/ 126 w 546"/>
                <a:gd name="T67" fmla="*/ 413 h 610"/>
                <a:gd name="T68" fmla="*/ 146 w 546"/>
                <a:gd name="T69" fmla="*/ 428 h 610"/>
                <a:gd name="T70" fmla="*/ 160 w 546"/>
                <a:gd name="T71" fmla="*/ 458 h 610"/>
                <a:gd name="T72" fmla="*/ 207 w 546"/>
                <a:gd name="T73" fmla="*/ 522 h 610"/>
                <a:gd name="T74" fmla="*/ 235 w 546"/>
                <a:gd name="T75" fmla="*/ 539 h 610"/>
                <a:gd name="T76" fmla="*/ 259 w 546"/>
                <a:gd name="T77" fmla="*/ 544 h 610"/>
                <a:gd name="T78" fmla="*/ 299 w 546"/>
                <a:gd name="T79" fmla="*/ 540 h 610"/>
                <a:gd name="T80" fmla="*/ 347 w 546"/>
                <a:gd name="T81" fmla="*/ 517 h 610"/>
                <a:gd name="T82" fmla="*/ 395 w 546"/>
                <a:gd name="T83" fmla="*/ 477 h 610"/>
                <a:gd name="T84" fmla="*/ 440 w 546"/>
                <a:gd name="T85" fmla="*/ 404 h 610"/>
                <a:gd name="T86" fmla="*/ 469 w 546"/>
                <a:gd name="T87" fmla="*/ 302 h 610"/>
                <a:gd name="T88" fmla="*/ 480 w 546"/>
                <a:gd name="T89" fmla="*/ 189 h 610"/>
                <a:gd name="T90" fmla="*/ 468 w 546"/>
                <a:gd name="T91" fmla="*/ 84 h 610"/>
                <a:gd name="T92" fmla="*/ 397 w 546"/>
                <a:gd name="T93" fmla="*/ 120 h 610"/>
                <a:gd name="T94" fmla="*/ 288 w 546"/>
                <a:gd name="T95" fmla="*/ 154 h 610"/>
                <a:gd name="T96" fmla="*/ 211 w 546"/>
                <a:gd name="T97" fmla="*/ 176 h 610"/>
                <a:gd name="T98" fmla="*/ 139 w 546"/>
                <a:gd name="T99" fmla="*/ 212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6" h="610">
                  <a:moveTo>
                    <a:pt x="266" y="610"/>
                  </a:moveTo>
                  <a:lnTo>
                    <a:pt x="266" y="610"/>
                  </a:lnTo>
                  <a:lnTo>
                    <a:pt x="251" y="610"/>
                  </a:lnTo>
                  <a:lnTo>
                    <a:pt x="237" y="608"/>
                  </a:lnTo>
                  <a:lnTo>
                    <a:pt x="237" y="608"/>
                  </a:lnTo>
                  <a:lnTo>
                    <a:pt x="220" y="604"/>
                  </a:lnTo>
                  <a:lnTo>
                    <a:pt x="203" y="597"/>
                  </a:lnTo>
                  <a:lnTo>
                    <a:pt x="193" y="593"/>
                  </a:lnTo>
                  <a:lnTo>
                    <a:pt x="184" y="587"/>
                  </a:lnTo>
                  <a:lnTo>
                    <a:pt x="175" y="580"/>
                  </a:lnTo>
                  <a:lnTo>
                    <a:pt x="164" y="573"/>
                  </a:lnTo>
                  <a:lnTo>
                    <a:pt x="155" y="565"/>
                  </a:lnTo>
                  <a:lnTo>
                    <a:pt x="146" y="556"/>
                  </a:lnTo>
                  <a:lnTo>
                    <a:pt x="136" y="544"/>
                  </a:lnTo>
                  <a:lnTo>
                    <a:pt x="127" y="533"/>
                  </a:lnTo>
                  <a:lnTo>
                    <a:pt x="118" y="519"/>
                  </a:lnTo>
                  <a:lnTo>
                    <a:pt x="110" y="504"/>
                  </a:lnTo>
                  <a:lnTo>
                    <a:pt x="101" y="488"/>
                  </a:lnTo>
                  <a:lnTo>
                    <a:pt x="93" y="471"/>
                  </a:lnTo>
                  <a:lnTo>
                    <a:pt x="93" y="471"/>
                  </a:lnTo>
                  <a:lnTo>
                    <a:pt x="80" y="460"/>
                  </a:lnTo>
                  <a:lnTo>
                    <a:pt x="67" y="450"/>
                  </a:lnTo>
                  <a:lnTo>
                    <a:pt x="56" y="440"/>
                  </a:lnTo>
                  <a:lnTo>
                    <a:pt x="46" y="429"/>
                  </a:lnTo>
                  <a:lnTo>
                    <a:pt x="37" y="419"/>
                  </a:lnTo>
                  <a:lnTo>
                    <a:pt x="30" y="409"/>
                  </a:lnTo>
                  <a:lnTo>
                    <a:pt x="24" y="398"/>
                  </a:lnTo>
                  <a:lnTo>
                    <a:pt x="17" y="388"/>
                  </a:lnTo>
                  <a:lnTo>
                    <a:pt x="13" y="379"/>
                  </a:lnTo>
                  <a:lnTo>
                    <a:pt x="9" y="369"/>
                  </a:lnTo>
                  <a:lnTo>
                    <a:pt x="6" y="360"/>
                  </a:lnTo>
                  <a:lnTo>
                    <a:pt x="4" y="351"/>
                  </a:lnTo>
                  <a:lnTo>
                    <a:pt x="1" y="333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1" y="307"/>
                  </a:lnTo>
                  <a:lnTo>
                    <a:pt x="2" y="296"/>
                  </a:lnTo>
                  <a:lnTo>
                    <a:pt x="4" y="284"/>
                  </a:lnTo>
                  <a:lnTo>
                    <a:pt x="7" y="274"/>
                  </a:lnTo>
                  <a:lnTo>
                    <a:pt x="10" y="263"/>
                  </a:lnTo>
                  <a:lnTo>
                    <a:pt x="15" y="252"/>
                  </a:lnTo>
                  <a:lnTo>
                    <a:pt x="21" y="241"/>
                  </a:lnTo>
                  <a:lnTo>
                    <a:pt x="27" y="231"/>
                  </a:lnTo>
                  <a:lnTo>
                    <a:pt x="34" y="220"/>
                  </a:lnTo>
                  <a:lnTo>
                    <a:pt x="41" y="211"/>
                  </a:lnTo>
                  <a:lnTo>
                    <a:pt x="50" y="201"/>
                  </a:lnTo>
                  <a:lnTo>
                    <a:pt x="59" y="191"/>
                  </a:lnTo>
                  <a:lnTo>
                    <a:pt x="68" y="182"/>
                  </a:lnTo>
                  <a:lnTo>
                    <a:pt x="79" y="174"/>
                  </a:lnTo>
                  <a:lnTo>
                    <a:pt x="90" y="164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01" y="156"/>
                  </a:lnTo>
                  <a:lnTo>
                    <a:pt x="123" y="144"/>
                  </a:lnTo>
                  <a:lnTo>
                    <a:pt x="144" y="132"/>
                  </a:lnTo>
                  <a:lnTo>
                    <a:pt x="165" y="123"/>
                  </a:lnTo>
                  <a:lnTo>
                    <a:pt x="186" y="115"/>
                  </a:lnTo>
                  <a:lnTo>
                    <a:pt x="208" y="107"/>
                  </a:lnTo>
                  <a:lnTo>
                    <a:pt x="229" y="101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318" y="77"/>
                  </a:lnTo>
                  <a:lnTo>
                    <a:pt x="341" y="69"/>
                  </a:lnTo>
                  <a:lnTo>
                    <a:pt x="366" y="61"/>
                  </a:lnTo>
                  <a:lnTo>
                    <a:pt x="390" y="51"/>
                  </a:lnTo>
                  <a:lnTo>
                    <a:pt x="415" y="38"/>
                  </a:lnTo>
                  <a:lnTo>
                    <a:pt x="440" y="24"/>
                  </a:lnTo>
                  <a:lnTo>
                    <a:pt x="465" y="6"/>
                  </a:lnTo>
                  <a:lnTo>
                    <a:pt x="465" y="6"/>
                  </a:lnTo>
                  <a:lnTo>
                    <a:pt x="471" y="3"/>
                  </a:lnTo>
                  <a:lnTo>
                    <a:pt x="478" y="1"/>
                  </a:lnTo>
                  <a:lnTo>
                    <a:pt x="485" y="0"/>
                  </a:lnTo>
                  <a:lnTo>
                    <a:pt x="492" y="1"/>
                  </a:lnTo>
                  <a:lnTo>
                    <a:pt x="492" y="1"/>
                  </a:lnTo>
                  <a:lnTo>
                    <a:pt x="500" y="3"/>
                  </a:lnTo>
                  <a:lnTo>
                    <a:pt x="506" y="7"/>
                  </a:lnTo>
                  <a:lnTo>
                    <a:pt x="511" y="12"/>
                  </a:lnTo>
                  <a:lnTo>
                    <a:pt x="514" y="19"/>
                  </a:lnTo>
                  <a:lnTo>
                    <a:pt x="514" y="19"/>
                  </a:lnTo>
                  <a:lnTo>
                    <a:pt x="520" y="33"/>
                  </a:lnTo>
                  <a:lnTo>
                    <a:pt x="526" y="49"/>
                  </a:lnTo>
                  <a:lnTo>
                    <a:pt x="531" y="63"/>
                  </a:lnTo>
                  <a:lnTo>
                    <a:pt x="535" y="80"/>
                  </a:lnTo>
                  <a:lnTo>
                    <a:pt x="538" y="96"/>
                  </a:lnTo>
                  <a:lnTo>
                    <a:pt x="541" y="113"/>
                  </a:lnTo>
                  <a:lnTo>
                    <a:pt x="543" y="129"/>
                  </a:lnTo>
                  <a:lnTo>
                    <a:pt x="545" y="147"/>
                  </a:lnTo>
                  <a:lnTo>
                    <a:pt x="546" y="183"/>
                  </a:lnTo>
                  <a:lnTo>
                    <a:pt x="545" y="218"/>
                  </a:lnTo>
                  <a:lnTo>
                    <a:pt x="543" y="255"/>
                  </a:lnTo>
                  <a:lnTo>
                    <a:pt x="538" y="291"/>
                  </a:lnTo>
                  <a:lnTo>
                    <a:pt x="531" y="327"/>
                  </a:lnTo>
                  <a:lnTo>
                    <a:pt x="522" y="361"/>
                  </a:lnTo>
                  <a:lnTo>
                    <a:pt x="513" y="394"/>
                  </a:lnTo>
                  <a:lnTo>
                    <a:pt x="502" y="425"/>
                  </a:lnTo>
                  <a:lnTo>
                    <a:pt x="488" y="453"/>
                  </a:lnTo>
                  <a:lnTo>
                    <a:pt x="475" y="480"/>
                  </a:lnTo>
                  <a:lnTo>
                    <a:pt x="468" y="491"/>
                  </a:lnTo>
                  <a:lnTo>
                    <a:pt x="459" y="503"/>
                  </a:lnTo>
                  <a:lnTo>
                    <a:pt x="451" y="513"/>
                  </a:lnTo>
                  <a:lnTo>
                    <a:pt x="443" y="522"/>
                  </a:lnTo>
                  <a:lnTo>
                    <a:pt x="443" y="522"/>
                  </a:lnTo>
                  <a:lnTo>
                    <a:pt x="422" y="542"/>
                  </a:lnTo>
                  <a:lnTo>
                    <a:pt x="401" y="560"/>
                  </a:lnTo>
                  <a:lnTo>
                    <a:pt x="379" y="575"/>
                  </a:lnTo>
                  <a:lnTo>
                    <a:pt x="357" y="588"/>
                  </a:lnTo>
                  <a:lnTo>
                    <a:pt x="346" y="593"/>
                  </a:lnTo>
                  <a:lnTo>
                    <a:pt x="334" y="598"/>
                  </a:lnTo>
                  <a:lnTo>
                    <a:pt x="323" y="601"/>
                  </a:lnTo>
                  <a:lnTo>
                    <a:pt x="311" y="605"/>
                  </a:lnTo>
                  <a:lnTo>
                    <a:pt x="300" y="607"/>
                  </a:lnTo>
                  <a:lnTo>
                    <a:pt x="289" y="609"/>
                  </a:lnTo>
                  <a:lnTo>
                    <a:pt x="277" y="610"/>
                  </a:lnTo>
                  <a:lnTo>
                    <a:pt x="266" y="610"/>
                  </a:lnTo>
                  <a:lnTo>
                    <a:pt x="266" y="610"/>
                  </a:lnTo>
                  <a:close/>
                  <a:moveTo>
                    <a:pt x="139" y="212"/>
                  </a:moveTo>
                  <a:lnTo>
                    <a:pt x="139" y="212"/>
                  </a:lnTo>
                  <a:lnTo>
                    <a:pt x="122" y="223"/>
                  </a:lnTo>
                  <a:lnTo>
                    <a:pt x="107" y="236"/>
                  </a:lnTo>
                  <a:lnTo>
                    <a:pt x="96" y="249"/>
                  </a:lnTo>
                  <a:lnTo>
                    <a:pt x="86" y="263"/>
                  </a:lnTo>
                  <a:lnTo>
                    <a:pt x="77" y="276"/>
                  </a:lnTo>
                  <a:lnTo>
                    <a:pt x="71" y="291"/>
                  </a:lnTo>
                  <a:lnTo>
                    <a:pt x="67" y="304"/>
                  </a:lnTo>
                  <a:lnTo>
                    <a:pt x="66" y="319"/>
                  </a:lnTo>
                  <a:lnTo>
                    <a:pt x="66" y="319"/>
                  </a:lnTo>
                  <a:lnTo>
                    <a:pt x="66" y="327"/>
                  </a:lnTo>
                  <a:lnTo>
                    <a:pt x="68" y="334"/>
                  </a:lnTo>
                  <a:lnTo>
                    <a:pt x="70" y="342"/>
                  </a:lnTo>
                  <a:lnTo>
                    <a:pt x="72" y="350"/>
                  </a:lnTo>
                  <a:lnTo>
                    <a:pt x="76" y="358"/>
                  </a:lnTo>
                  <a:lnTo>
                    <a:pt x="81" y="365"/>
                  </a:lnTo>
                  <a:lnTo>
                    <a:pt x="90" y="379"/>
                  </a:lnTo>
                  <a:lnTo>
                    <a:pt x="101" y="391"/>
                  </a:lnTo>
                  <a:lnTo>
                    <a:pt x="113" y="402"/>
                  </a:lnTo>
                  <a:lnTo>
                    <a:pt x="126" y="413"/>
                  </a:lnTo>
                  <a:lnTo>
                    <a:pt x="139" y="421"/>
                  </a:lnTo>
                  <a:lnTo>
                    <a:pt x="139" y="421"/>
                  </a:lnTo>
                  <a:lnTo>
                    <a:pt x="142" y="424"/>
                  </a:lnTo>
                  <a:lnTo>
                    <a:pt x="146" y="428"/>
                  </a:lnTo>
                  <a:lnTo>
                    <a:pt x="148" y="432"/>
                  </a:lnTo>
                  <a:lnTo>
                    <a:pt x="151" y="437"/>
                  </a:lnTo>
                  <a:lnTo>
                    <a:pt x="151" y="437"/>
                  </a:lnTo>
                  <a:lnTo>
                    <a:pt x="160" y="458"/>
                  </a:lnTo>
                  <a:lnTo>
                    <a:pt x="171" y="479"/>
                  </a:lnTo>
                  <a:lnTo>
                    <a:pt x="182" y="496"/>
                  </a:lnTo>
                  <a:lnTo>
                    <a:pt x="194" y="510"/>
                  </a:lnTo>
                  <a:lnTo>
                    <a:pt x="207" y="522"/>
                  </a:lnTo>
                  <a:lnTo>
                    <a:pt x="214" y="528"/>
                  </a:lnTo>
                  <a:lnTo>
                    <a:pt x="220" y="532"/>
                  </a:lnTo>
                  <a:lnTo>
                    <a:pt x="228" y="536"/>
                  </a:lnTo>
                  <a:lnTo>
                    <a:pt x="235" y="539"/>
                  </a:lnTo>
                  <a:lnTo>
                    <a:pt x="242" y="541"/>
                  </a:lnTo>
                  <a:lnTo>
                    <a:pt x="249" y="543"/>
                  </a:lnTo>
                  <a:lnTo>
                    <a:pt x="249" y="543"/>
                  </a:lnTo>
                  <a:lnTo>
                    <a:pt x="259" y="544"/>
                  </a:lnTo>
                  <a:lnTo>
                    <a:pt x="269" y="544"/>
                  </a:lnTo>
                  <a:lnTo>
                    <a:pt x="278" y="544"/>
                  </a:lnTo>
                  <a:lnTo>
                    <a:pt x="289" y="542"/>
                  </a:lnTo>
                  <a:lnTo>
                    <a:pt x="299" y="540"/>
                  </a:lnTo>
                  <a:lnTo>
                    <a:pt x="308" y="537"/>
                  </a:lnTo>
                  <a:lnTo>
                    <a:pt x="319" y="533"/>
                  </a:lnTo>
                  <a:lnTo>
                    <a:pt x="328" y="528"/>
                  </a:lnTo>
                  <a:lnTo>
                    <a:pt x="347" y="517"/>
                  </a:lnTo>
                  <a:lnTo>
                    <a:pt x="364" y="505"/>
                  </a:lnTo>
                  <a:lnTo>
                    <a:pt x="381" y="490"/>
                  </a:lnTo>
                  <a:lnTo>
                    <a:pt x="395" y="477"/>
                  </a:lnTo>
                  <a:lnTo>
                    <a:pt x="395" y="477"/>
                  </a:lnTo>
                  <a:lnTo>
                    <a:pt x="408" y="462"/>
                  </a:lnTo>
                  <a:lnTo>
                    <a:pt x="419" y="445"/>
                  </a:lnTo>
                  <a:lnTo>
                    <a:pt x="429" y="425"/>
                  </a:lnTo>
                  <a:lnTo>
                    <a:pt x="440" y="404"/>
                  </a:lnTo>
                  <a:lnTo>
                    <a:pt x="448" y="381"/>
                  </a:lnTo>
                  <a:lnTo>
                    <a:pt x="456" y="356"/>
                  </a:lnTo>
                  <a:lnTo>
                    <a:pt x="463" y="330"/>
                  </a:lnTo>
                  <a:lnTo>
                    <a:pt x="469" y="302"/>
                  </a:lnTo>
                  <a:lnTo>
                    <a:pt x="474" y="274"/>
                  </a:lnTo>
                  <a:lnTo>
                    <a:pt x="477" y="246"/>
                  </a:lnTo>
                  <a:lnTo>
                    <a:pt x="480" y="218"/>
                  </a:lnTo>
                  <a:lnTo>
                    <a:pt x="480" y="189"/>
                  </a:lnTo>
                  <a:lnTo>
                    <a:pt x="480" y="162"/>
                  </a:lnTo>
                  <a:lnTo>
                    <a:pt x="477" y="134"/>
                  </a:lnTo>
                  <a:lnTo>
                    <a:pt x="474" y="109"/>
                  </a:lnTo>
                  <a:lnTo>
                    <a:pt x="468" y="84"/>
                  </a:lnTo>
                  <a:lnTo>
                    <a:pt x="468" y="84"/>
                  </a:lnTo>
                  <a:lnTo>
                    <a:pt x="444" y="98"/>
                  </a:lnTo>
                  <a:lnTo>
                    <a:pt x="420" y="110"/>
                  </a:lnTo>
                  <a:lnTo>
                    <a:pt x="397" y="120"/>
                  </a:lnTo>
                  <a:lnTo>
                    <a:pt x="374" y="128"/>
                  </a:lnTo>
                  <a:lnTo>
                    <a:pt x="352" y="136"/>
                  </a:lnTo>
                  <a:lnTo>
                    <a:pt x="330" y="143"/>
                  </a:lnTo>
                  <a:lnTo>
                    <a:pt x="288" y="154"/>
                  </a:lnTo>
                  <a:lnTo>
                    <a:pt x="288" y="154"/>
                  </a:lnTo>
                  <a:lnTo>
                    <a:pt x="248" y="164"/>
                  </a:lnTo>
                  <a:lnTo>
                    <a:pt x="230" y="170"/>
                  </a:lnTo>
                  <a:lnTo>
                    <a:pt x="211" y="176"/>
                  </a:lnTo>
                  <a:lnTo>
                    <a:pt x="192" y="183"/>
                  </a:lnTo>
                  <a:lnTo>
                    <a:pt x="174" y="191"/>
                  </a:lnTo>
                  <a:lnTo>
                    <a:pt x="156" y="201"/>
                  </a:lnTo>
                  <a:lnTo>
                    <a:pt x="139" y="212"/>
                  </a:lnTo>
                  <a:lnTo>
                    <a:pt x="139" y="212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20">
              <a:extLst>
                <a:ext uri="{FF2B5EF4-FFF2-40B4-BE49-F238E27FC236}">
                  <a16:creationId xmlns:a16="http://schemas.microsoft.com/office/drawing/2014/main" id="{3AC92560-A15E-407B-BF89-316F2D1FF9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4550" y="1825625"/>
              <a:ext cx="161925" cy="190500"/>
            </a:xfrm>
            <a:custGeom>
              <a:avLst/>
              <a:gdLst>
                <a:gd name="T0" fmla="*/ 320 w 718"/>
                <a:gd name="T1" fmla="*/ 840 h 842"/>
                <a:gd name="T2" fmla="*/ 262 w 718"/>
                <a:gd name="T3" fmla="*/ 822 h 842"/>
                <a:gd name="T4" fmla="*/ 203 w 718"/>
                <a:gd name="T5" fmla="*/ 787 h 842"/>
                <a:gd name="T6" fmla="*/ 145 w 718"/>
                <a:gd name="T7" fmla="*/ 735 h 842"/>
                <a:gd name="T8" fmla="*/ 105 w 718"/>
                <a:gd name="T9" fmla="*/ 690 h 842"/>
                <a:gd name="T10" fmla="*/ 67 w 718"/>
                <a:gd name="T11" fmla="*/ 625 h 842"/>
                <a:gd name="T12" fmla="*/ 37 w 718"/>
                <a:gd name="T13" fmla="*/ 547 h 842"/>
                <a:gd name="T14" fmla="*/ 15 w 718"/>
                <a:gd name="T15" fmla="*/ 456 h 842"/>
                <a:gd name="T16" fmla="*/ 3 w 718"/>
                <a:gd name="T17" fmla="*/ 359 h 842"/>
                <a:gd name="T18" fmla="*/ 1 w 718"/>
                <a:gd name="T19" fmla="*/ 261 h 842"/>
                <a:gd name="T20" fmla="*/ 10 w 718"/>
                <a:gd name="T21" fmla="*/ 166 h 842"/>
                <a:gd name="T22" fmla="*/ 32 w 718"/>
                <a:gd name="T23" fmla="*/ 77 h 842"/>
                <a:gd name="T24" fmla="*/ 57 w 718"/>
                <a:gd name="T25" fmla="*/ 18 h 842"/>
                <a:gd name="T26" fmla="*/ 80 w 718"/>
                <a:gd name="T27" fmla="*/ 1 h 842"/>
                <a:gd name="T28" fmla="*/ 101 w 718"/>
                <a:gd name="T29" fmla="*/ 5 h 842"/>
                <a:gd name="T30" fmla="*/ 138 w 718"/>
                <a:gd name="T31" fmla="*/ 31 h 842"/>
                <a:gd name="T32" fmla="*/ 202 w 718"/>
                <a:gd name="T33" fmla="*/ 70 h 842"/>
                <a:gd name="T34" fmla="*/ 333 w 718"/>
                <a:gd name="T35" fmla="*/ 119 h 842"/>
                <a:gd name="T36" fmla="*/ 439 w 718"/>
                <a:gd name="T37" fmla="*/ 152 h 842"/>
                <a:gd name="T38" fmla="*/ 523 w 718"/>
                <a:gd name="T39" fmla="*/ 188 h 842"/>
                <a:gd name="T40" fmla="*/ 585 w 718"/>
                <a:gd name="T41" fmla="*/ 228 h 842"/>
                <a:gd name="T42" fmla="*/ 627 w 718"/>
                <a:gd name="T43" fmla="*/ 269 h 842"/>
                <a:gd name="T44" fmla="*/ 664 w 718"/>
                <a:gd name="T45" fmla="*/ 317 h 842"/>
                <a:gd name="T46" fmla="*/ 698 w 718"/>
                <a:gd name="T47" fmla="*/ 380 h 842"/>
                <a:gd name="T48" fmla="*/ 715 w 718"/>
                <a:gd name="T49" fmla="*/ 440 h 842"/>
                <a:gd name="T50" fmla="*/ 716 w 718"/>
                <a:gd name="T51" fmla="*/ 498 h 842"/>
                <a:gd name="T52" fmla="*/ 705 w 718"/>
                <a:gd name="T53" fmla="*/ 537 h 842"/>
                <a:gd name="T54" fmla="*/ 678 w 718"/>
                <a:gd name="T55" fmla="*/ 585 h 842"/>
                <a:gd name="T56" fmla="*/ 635 w 718"/>
                <a:gd name="T57" fmla="*/ 628 h 842"/>
                <a:gd name="T58" fmla="*/ 577 w 718"/>
                <a:gd name="T59" fmla="*/ 667 h 842"/>
                <a:gd name="T60" fmla="*/ 534 w 718"/>
                <a:gd name="T61" fmla="*/ 701 h 842"/>
                <a:gd name="T62" fmla="*/ 498 w 718"/>
                <a:gd name="T63" fmla="*/ 760 h 842"/>
                <a:gd name="T64" fmla="*/ 455 w 718"/>
                <a:gd name="T65" fmla="*/ 802 h 842"/>
                <a:gd name="T66" fmla="*/ 409 w 718"/>
                <a:gd name="T67" fmla="*/ 830 h 842"/>
                <a:gd name="T68" fmla="*/ 371 w 718"/>
                <a:gd name="T69" fmla="*/ 840 h 842"/>
                <a:gd name="T70" fmla="*/ 99 w 718"/>
                <a:gd name="T71" fmla="*/ 85 h 842"/>
                <a:gd name="T72" fmla="*/ 83 w 718"/>
                <a:gd name="T73" fmla="*/ 138 h 842"/>
                <a:gd name="T74" fmla="*/ 68 w 718"/>
                <a:gd name="T75" fmla="*/ 235 h 842"/>
                <a:gd name="T76" fmla="*/ 72 w 718"/>
                <a:gd name="T77" fmla="*/ 399 h 842"/>
                <a:gd name="T78" fmla="*/ 107 w 718"/>
                <a:gd name="T79" fmla="*/ 550 h 842"/>
                <a:gd name="T80" fmla="*/ 142 w 718"/>
                <a:gd name="T81" fmla="*/ 625 h 842"/>
                <a:gd name="T82" fmla="*/ 165 w 718"/>
                <a:gd name="T83" fmla="*/ 661 h 842"/>
                <a:gd name="T84" fmla="*/ 217 w 718"/>
                <a:gd name="T85" fmla="*/ 713 h 842"/>
                <a:gd name="T86" fmla="*/ 269 w 718"/>
                <a:gd name="T87" fmla="*/ 751 h 842"/>
                <a:gd name="T88" fmla="*/ 317 w 718"/>
                <a:gd name="T89" fmla="*/ 771 h 842"/>
                <a:gd name="T90" fmla="*/ 362 w 718"/>
                <a:gd name="T91" fmla="*/ 774 h 842"/>
                <a:gd name="T92" fmla="*/ 388 w 718"/>
                <a:gd name="T93" fmla="*/ 767 h 842"/>
                <a:gd name="T94" fmla="*/ 422 w 718"/>
                <a:gd name="T95" fmla="*/ 744 h 842"/>
                <a:gd name="T96" fmla="*/ 460 w 718"/>
                <a:gd name="T97" fmla="*/ 698 h 842"/>
                <a:gd name="T98" fmla="*/ 490 w 718"/>
                <a:gd name="T99" fmla="*/ 640 h 842"/>
                <a:gd name="T100" fmla="*/ 505 w 718"/>
                <a:gd name="T101" fmla="*/ 628 h 842"/>
                <a:gd name="T102" fmla="*/ 594 w 718"/>
                <a:gd name="T103" fmla="*/ 577 h 842"/>
                <a:gd name="T104" fmla="*/ 627 w 718"/>
                <a:gd name="T105" fmla="*/ 543 h 842"/>
                <a:gd name="T106" fmla="*/ 646 w 718"/>
                <a:gd name="T107" fmla="*/ 506 h 842"/>
                <a:gd name="T108" fmla="*/ 652 w 718"/>
                <a:gd name="T109" fmla="*/ 472 h 842"/>
                <a:gd name="T110" fmla="*/ 643 w 718"/>
                <a:gd name="T111" fmla="*/ 423 h 842"/>
                <a:gd name="T112" fmla="*/ 622 w 718"/>
                <a:gd name="T113" fmla="*/ 374 h 842"/>
                <a:gd name="T114" fmla="*/ 576 w 718"/>
                <a:gd name="T115" fmla="*/ 312 h 842"/>
                <a:gd name="T116" fmla="*/ 542 w 718"/>
                <a:gd name="T117" fmla="*/ 279 h 842"/>
                <a:gd name="T118" fmla="*/ 489 w 718"/>
                <a:gd name="T119" fmla="*/ 245 h 842"/>
                <a:gd name="T120" fmla="*/ 381 w 718"/>
                <a:gd name="T121" fmla="*/ 203 h 842"/>
                <a:gd name="T122" fmla="*/ 255 w 718"/>
                <a:gd name="T123" fmla="*/ 164 h 842"/>
                <a:gd name="T124" fmla="*/ 130 w 718"/>
                <a:gd name="T125" fmla="*/ 106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18" h="842">
                  <a:moveTo>
                    <a:pt x="347" y="842"/>
                  </a:moveTo>
                  <a:lnTo>
                    <a:pt x="347" y="842"/>
                  </a:lnTo>
                  <a:lnTo>
                    <a:pt x="334" y="841"/>
                  </a:lnTo>
                  <a:lnTo>
                    <a:pt x="320" y="840"/>
                  </a:lnTo>
                  <a:lnTo>
                    <a:pt x="305" y="836"/>
                  </a:lnTo>
                  <a:lnTo>
                    <a:pt x="291" y="832"/>
                  </a:lnTo>
                  <a:lnTo>
                    <a:pt x="276" y="827"/>
                  </a:lnTo>
                  <a:lnTo>
                    <a:pt x="262" y="822"/>
                  </a:lnTo>
                  <a:lnTo>
                    <a:pt x="247" y="815"/>
                  </a:lnTo>
                  <a:lnTo>
                    <a:pt x="233" y="806"/>
                  </a:lnTo>
                  <a:lnTo>
                    <a:pt x="217" y="797"/>
                  </a:lnTo>
                  <a:lnTo>
                    <a:pt x="203" y="787"/>
                  </a:lnTo>
                  <a:lnTo>
                    <a:pt x="188" y="775"/>
                  </a:lnTo>
                  <a:lnTo>
                    <a:pt x="174" y="763"/>
                  </a:lnTo>
                  <a:lnTo>
                    <a:pt x="159" y="750"/>
                  </a:lnTo>
                  <a:lnTo>
                    <a:pt x="145" y="735"/>
                  </a:lnTo>
                  <a:lnTo>
                    <a:pt x="130" y="720"/>
                  </a:lnTo>
                  <a:lnTo>
                    <a:pt x="116" y="703"/>
                  </a:lnTo>
                  <a:lnTo>
                    <a:pt x="116" y="703"/>
                  </a:lnTo>
                  <a:lnTo>
                    <a:pt x="105" y="690"/>
                  </a:lnTo>
                  <a:lnTo>
                    <a:pt x="95" y="676"/>
                  </a:lnTo>
                  <a:lnTo>
                    <a:pt x="86" y="661"/>
                  </a:lnTo>
                  <a:lnTo>
                    <a:pt x="76" y="643"/>
                  </a:lnTo>
                  <a:lnTo>
                    <a:pt x="67" y="625"/>
                  </a:lnTo>
                  <a:lnTo>
                    <a:pt x="59" y="607"/>
                  </a:lnTo>
                  <a:lnTo>
                    <a:pt x="52" y="588"/>
                  </a:lnTo>
                  <a:lnTo>
                    <a:pt x="44" y="567"/>
                  </a:lnTo>
                  <a:lnTo>
                    <a:pt x="37" y="547"/>
                  </a:lnTo>
                  <a:lnTo>
                    <a:pt x="31" y="525"/>
                  </a:lnTo>
                  <a:lnTo>
                    <a:pt x="25" y="502"/>
                  </a:lnTo>
                  <a:lnTo>
                    <a:pt x="19" y="479"/>
                  </a:lnTo>
                  <a:lnTo>
                    <a:pt x="15" y="456"/>
                  </a:lnTo>
                  <a:lnTo>
                    <a:pt x="11" y="432"/>
                  </a:lnTo>
                  <a:lnTo>
                    <a:pt x="8" y="408"/>
                  </a:lnTo>
                  <a:lnTo>
                    <a:pt x="5" y="384"/>
                  </a:lnTo>
                  <a:lnTo>
                    <a:pt x="3" y="359"/>
                  </a:lnTo>
                  <a:lnTo>
                    <a:pt x="1" y="335"/>
                  </a:lnTo>
                  <a:lnTo>
                    <a:pt x="1" y="310"/>
                  </a:lnTo>
                  <a:lnTo>
                    <a:pt x="0" y="286"/>
                  </a:lnTo>
                  <a:lnTo>
                    <a:pt x="1" y="261"/>
                  </a:lnTo>
                  <a:lnTo>
                    <a:pt x="2" y="236"/>
                  </a:lnTo>
                  <a:lnTo>
                    <a:pt x="4" y="213"/>
                  </a:lnTo>
                  <a:lnTo>
                    <a:pt x="7" y="189"/>
                  </a:lnTo>
                  <a:lnTo>
                    <a:pt x="10" y="166"/>
                  </a:lnTo>
                  <a:lnTo>
                    <a:pt x="14" y="142"/>
                  </a:lnTo>
                  <a:lnTo>
                    <a:pt x="19" y="120"/>
                  </a:lnTo>
                  <a:lnTo>
                    <a:pt x="26" y="99"/>
                  </a:lnTo>
                  <a:lnTo>
                    <a:pt x="32" y="77"/>
                  </a:lnTo>
                  <a:lnTo>
                    <a:pt x="39" y="56"/>
                  </a:lnTo>
                  <a:lnTo>
                    <a:pt x="47" y="3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61" y="12"/>
                  </a:lnTo>
                  <a:lnTo>
                    <a:pt x="67" y="7"/>
                  </a:lnTo>
                  <a:lnTo>
                    <a:pt x="73" y="3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8" y="0"/>
                  </a:lnTo>
                  <a:lnTo>
                    <a:pt x="95" y="1"/>
                  </a:lnTo>
                  <a:lnTo>
                    <a:pt x="101" y="5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23" y="21"/>
                  </a:lnTo>
                  <a:lnTo>
                    <a:pt x="138" y="31"/>
                  </a:lnTo>
                  <a:lnTo>
                    <a:pt x="154" y="43"/>
                  </a:lnTo>
                  <a:lnTo>
                    <a:pt x="169" y="52"/>
                  </a:lnTo>
                  <a:lnTo>
                    <a:pt x="185" y="61"/>
                  </a:lnTo>
                  <a:lnTo>
                    <a:pt x="202" y="70"/>
                  </a:lnTo>
                  <a:lnTo>
                    <a:pt x="234" y="84"/>
                  </a:lnTo>
                  <a:lnTo>
                    <a:pt x="267" y="98"/>
                  </a:lnTo>
                  <a:lnTo>
                    <a:pt x="300" y="109"/>
                  </a:lnTo>
                  <a:lnTo>
                    <a:pt x="333" y="119"/>
                  </a:lnTo>
                  <a:lnTo>
                    <a:pt x="366" y="130"/>
                  </a:lnTo>
                  <a:lnTo>
                    <a:pt x="366" y="130"/>
                  </a:lnTo>
                  <a:lnTo>
                    <a:pt x="402" y="141"/>
                  </a:lnTo>
                  <a:lnTo>
                    <a:pt x="439" y="152"/>
                  </a:lnTo>
                  <a:lnTo>
                    <a:pt x="474" y="165"/>
                  </a:lnTo>
                  <a:lnTo>
                    <a:pt x="490" y="172"/>
                  </a:lnTo>
                  <a:lnTo>
                    <a:pt x="507" y="179"/>
                  </a:lnTo>
                  <a:lnTo>
                    <a:pt x="523" y="188"/>
                  </a:lnTo>
                  <a:lnTo>
                    <a:pt x="540" y="197"/>
                  </a:lnTo>
                  <a:lnTo>
                    <a:pt x="555" y="206"/>
                  </a:lnTo>
                  <a:lnTo>
                    <a:pt x="571" y="217"/>
                  </a:lnTo>
                  <a:lnTo>
                    <a:pt x="585" y="228"/>
                  </a:lnTo>
                  <a:lnTo>
                    <a:pt x="600" y="240"/>
                  </a:lnTo>
                  <a:lnTo>
                    <a:pt x="613" y="254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27" y="269"/>
                  </a:lnTo>
                  <a:lnTo>
                    <a:pt x="640" y="285"/>
                  </a:lnTo>
                  <a:lnTo>
                    <a:pt x="653" y="301"/>
                  </a:lnTo>
                  <a:lnTo>
                    <a:pt x="664" y="317"/>
                  </a:lnTo>
                  <a:lnTo>
                    <a:pt x="673" y="334"/>
                  </a:lnTo>
                  <a:lnTo>
                    <a:pt x="683" y="349"/>
                  </a:lnTo>
                  <a:lnTo>
                    <a:pt x="691" y="365"/>
                  </a:lnTo>
                  <a:lnTo>
                    <a:pt x="698" y="380"/>
                  </a:lnTo>
                  <a:lnTo>
                    <a:pt x="705" y="396"/>
                  </a:lnTo>
                  <a:lnTo>
                    <a:pt x="709" y="410"/>
                  </a:lnTo>
                  <a:lnTo>
                    <a:pt x="713" y="426"/>
                  </a:lnTo>
                  <a:lnTo>
                    <a:pt x="715" y="440"/>
                  </a:lnTo>
                  <a:lnTo>
                    <a:pt x="717" y="455"/>
                  </a:lnTo>
                  <a:lnTo>
                    <a:pt x="718" y="469"/>
                  </a:lnTo>
                  <a:lnTo>
                    <a:pt x="717" y="484"/>
                  </a:lnTo>
                  <a:lnTo>
                    <a:pt x="716" y="498"/>
                  </a:lnTo>
                  <a:lnTo>
                    <a:pt x="713" y="512"/>
                  </a:lnTo>
                  <a:lnTo>
                    <a:pt x="713" y="512"/>
                  </a:lnTo>
                  <a:lnTo>
                    <a:pt x="710" y="525"/>
                  </a:lnTo>
                  <a:lnTo>
                    <a:pt x="705" y="537"/>
                  </a:lnTo>
                  <a:lnTo>
                    <a:pt x="699" y="550"/>
                  </a:lnTo>
                  <a:lnTo>
                    <a:pt x="693" y="562"/>
                  </a:lnTo>
                  <a:lnTo>
                    <a:pt x="686" y="574"/>
                  </a:lnTo>
                  <a:lnTo>
                    <a:pt x="678" y="585"/>
                  </a:lnTo>
                  <a:lnTo>
                    <a:pt x="668" y="596"/>
                  </a:lnTo>
                  <a:lnTo>
                    <a:pt x="658" y="608"/>
                  </a:lnTo>
                  <a:lnTo>
                    <a:pt x="647" y="618"/>
                  </a:lnTo>
                  <a:lnTo>
                    <a:pt x="635" y="628"/>
                  </a:lnTo>
                  <a:lnTo>
                    <a:pt x="622" y="639"/>
                  </a:lnTo>
                  <a:lnTo>
                    <a:pt x="608" y="648"/>
                  </a:lnTo>
                  <a:lnTo>
                    <a:pt x="593" y="657"/>
                  </a:lnTo>
                  <a:lnTo>
                    <a:pt x="577" y="667"/>
                  </a:lnTo>
                  <a:lnTo>
                    <a:pt x="561" y="675"/>
                  </a:lnTo>
                  <a:lnTo>
                    <a:pt x="543" y="684"/>
                  </a:lnTo>
                  <a:lnTo>
                    <a:pt x="543" y="684"/>
                  </a:lnTo>
                  <a:lnTo>
                    <a:pt x="534" y="701"/>
                  </a:lnTo>
                  <a:lnTo>
                    <a:pt x="525" y="717"/>
                  </a:lnTo>
                  <a:lnTo>
                    <a:pt x="516" y="732"/>
                  </a:lnTo>
                  <a:lnTo>
                    <a:pt x="507" y="746"/>
                  </a:lnTo>
                  <a:lnTo>
                    <a:pt x="498" y="760"/>
                  </a:lnTo>
                  <a:lnTo>
                    <a:pt x="487" y="772"/>
                  </a:lnTo>
                  <a:lnTo>
                    <a:pt x="477" y="783"/>
                  </a:lnTo>
                  <a:lnTo>
                    <a:pt x="466" y="793"/>
                  </a:lnTo>
                  <a:lnTo>
                    <a:pt x="455" y="802"/>
                  </a:lnTo>
                  <a:lnTo>
                    <a:pt x="444" y="811"/>
                  </a:lnTo>
                  <a:lnTo>
                    <a:pt x="432" y="818"/>
                  </a:lnTo>
                  <a:lnTo>
                    <a:pt x="421" y="824"/>
                  </a:lnTo>
                  <a:lnTo>
                    <a:pt x="409" y="830"/>
                  </a:lnTo>
                  <a:lnTo>
                    <a:pt x="396" y="834"/>
                  </a:lnTo>
                  <a:lnTo>
                    <a:pt x="384" y="837"/>
                  </a:lnTo>
                  <a:lnTo>
                    <a:pt x="371" y="840"/>
                  </a:lnTo>
                  <a:lnTo>
                    <a:pt x="371" y="840"/>
                  </a:lnTo>
                  <a:lnTo>
                    <a:pt x="359" y="842"/>
                  </a:lnTo>
                  <a:lnTo>
                    <a:pt x="347" y="842"/>
                  </a:lnTo>
                  <a:lnTo>
                    <a:pt x="347" y="842"/>
                  </a:lnTo>
                  <a:close/>
                  <a:moveTo>
                    <a:pt x="99" y="85"/>
                  </a:moveTo>
                  <a:lnTo>
                    <a:pt x="99" y="85"/>
                  </a:lnTo>
                  <a:lnTo>
                    <a:pt x="93" y="102"/>
                  </a:lnTo>
                  <a:lnTo>
                    <a:pt x="88" y="119"/>
                  </a:lnTo>
                  <a:lnTo>
                    <a:pt x="83" y="138"/>
                  </a:lnTo>
                  <a:lnTo>
                    <a:pt x="78" y="157"/>
                  </a:lnTo>
                  <a:lnTo>
                    <a:pt x="75" y="175"/>
                  </a:lnTo>
                  <a:lnTo>
                    <a:pt x="72" y="195"/>
                  </a:lnTo>
                  <a:lnTo>
                    <a:pt x="68" y="235"/>
                  </a:lnTo>
                  <a:lnTo>
                    <a:pt x="66" y="276"/>
                  </a:lnTo>
                  <a:lnTo>
                    <a:pt x="66" y="317"/>
                  </a:lnTo>
                  <a:lnTo>
                    <a:pt x="68" y="358"/>
                  </a:lnTo>
                  <a:lnTo>
                    <a:pt x="72" y="399"/>
                  </a:lnTo>
                  <a:lnTo>
                    <a:pt x="78" y="439"/>
                  </a:lnTo>
                  <a:lnTo>
                    <a:pt x="87" y="477"/>
                  </a:lnTo>
                  <a:lnTo>
                    <a:pt x="96" y="515"/>
                  </a:lnTo>
                  <a:lnTo>
                    <a:pt x="107" y="550"/>
                  </a:lnTo>
                  <a:lnTo>
                    <a:pt x="120" y="582"/>
                  </a:lnTo>
                  <a:lnTo>
                    <a:pt x="126" y="597"/>
                  </a:lnTo>
                  <a:lnTo>
                    <a:pt x="133" y="612"/>
                  </a:lnTo>
                  <a:lnTo>
                    <a:pt x="142" y="625"/>
                  </a:lnTo>
                  <a:lnTo>
                    <a:pt x="149" y="638"/>
                  </a:lnTo>
                  <a:lnTo>
                    <a:pt x="157" y="649"/>
                  </a:lnTo>
                  <a:lnTo>
                    <a:pt x="165" y="661"/>
                  </a:lnTo>
                  <a:lnTo>
                    <a:pt x="165" y="661"/>
                  </a:lnTo>
                  <a:lnTo>
                    <a:pt x="179" y="675"/>
                  </a:lnTo>
                  <a:lnTo>
                    <a:pt x="191" y="688"/>
                  </a:lnTo>
                  <a:lnTo>
                    <a:pt x="205" y="701"/>
                  </a:lnTo>
                  <a:lnTo>
                    <a:pt x="217" y="713"/>
                  </a:lnTo>
                  <a:lnTo>
                    <a:pt x="231" y="724"/>
                  </a:lnTo>
                  <a:lnTo>
                    <a:pt x="243" y="734"/>
                  </a:lnTo>
                  <a:lnTo>
                    <a:pt x="256" y="742"/>
                  </a:lnTo>
                  <a:lnTo>
                    <a:pt x="269" y="751"/>
                  </a:lnTo>
                  <a:lnTo>
                    <a:pt x="281" y="757"/>
                  </a:lnTo>
                  <a:lnTo>
                    <a:pt x="294" y="763"/>
                  </a:lnTo>
                  <a:lnTo>
                    <a:pt x="305" y="767"/>
                  </a:lnTo>
                  <a:lnTo>
                    <a:pt x="317" y="771"/>
                  </a:lnTo>
                  <a:lnTo>
                    <a:pt x="329" y="773"/>
                  </a:lnTo>
                  <a:lnTo>
                    <a:pt x="340" y="775"/>
                  </a:lnTo>
                  <a:lnTo>
                    <a:pt x="351" y="775"/>
                  </a:lnTo>
                  <a:lnTo>
                    <a:pt x="362" y="774"/>
                  </a:lnTo>
                  <a:lnTo>
                    <a:pt x="362" y="774"/>
                  </a:lnTo>
                  <a:lnTo>
                    <a:pt x="370" y="772"/>
                  </a:lnTo>
                  <a:lnTo>
                    <a:pt x="380" y="770"/>
                  </a:lnTo>
                  <a:lnTo>
                    <a:pt x="388" y="767"/>
                  </a:lnTo>
                  <a:lnTo>
                    <a:pt x="397" y="762"/>
                  </a:lnTo>
                  <a:lnTo>
                    <a:pt x="405" y="758"/>
                  </a:lnTo>
                  <a:lnTo>
                    <a:pt x="414" y="752"/>
                  </a:lnTo>
                  <a:lnTo>
                    <a:pt x="422" y="744"/>
                  </a:lnTo>
                  <a:lnTo>
                    <a:pt x="429" y="737"/>
                  </a:lnTo>
                  <a:lnTo>
                    <a:pt x="438" y="729"/>
                  </a:lnTo>
                  <a:lnTo>
                    <a:pt x="445" y="718"/>
                  </a:lnTo>
                  <a:lnTo>
                    <a:pt x="460" y="698"/>
                  </a:lnTo>
                  <a:lnTo>
                    <a:pt x="474" y="673"/>
                  </a:lnTo>
                  <a:lnTo>
                    <a:pt x="488" y="645"/>
                  </a:lnTo>
                  <a:lnTo>
                    <a:pt x="488" y="645"/>
                  </a:lnTo>
                  <a:lnTo>
                    <a:pt x="490" y="640"/>
                  </a:lnTo>
                  <a:lnTo>
                    <a:pt x="494" y="636"/>
                  </a:lnTo>
                  <a:lnTo>
                    <a:pt x="500" y="632"/>
                  </a:lnTo>
                  <a:lnTo>
                    <a:pt x="505" y="628"/>
                  </a:lnTo>
                  <a:lnTo>
                    <a:pt x="505" y="628"/>
                  </a:lnTo>
                  <a:lnTo>
                    <a:pt x="535" y="615"/>
                  </a:lnTo>
                  <a:lnTo>
                    <a:pt x="561" y="599"/>
                  </a:lnTo>
                  <a:lnTo>
                    <a:pt x="583" y="584"/>
                  </a:lnTo>
                  <a:lnTo>
                    <a:pt x="594" y="577"/>
                  </a:lnTo>
                  <a:lnTo>
                    <a:pt x="603" y="568"/>
                  </a:lnTo>
                  <a:lnTo>
                    <a:pt x="612" y="560"/>
                  </a:lnTo>
                  <a:lnTo>
                    <a:pt x="620" y="551"/>
                  </a:lnTo>
                  <a:lnTo>
                    <a:pt x="627" y="543"/>
                  </a:lnTo>
                  <a:lnTo>
                    <a:pt x="633" y="533"/>
                  </a:lnTo>
                  <a:lnTo>
                    <a:pt x="638" y="525"/>
                  </a:lnTo>
                  <a:lnTo>
                    <a:pt x="642" y="516"/>
                  </a:lnTo>
                  <a:lnTo>
                    <a:pt x="646" y="506"/>
                  </a:lnTo>
                  <a:lnTo>
                    <a:pt x="649" y="497"/>
                  </a:lnTo>
                  <a:lnTo>
                    <a:pt x="649" y="497"/>
                  </a:lnTo>
                  <a:lnTo>
                    <a:pt x="651" y="485"/>
                  </a:lnTo>
                  <a:lnTo>
                    <a:pt x="652" y="472"/>
                  </a:lnTo>
                  <a:lnTo>
                    <a:pt x="651" y="460"/>
                  </a:lnTo>
                  <a:lnTo>
                    <a:pt x="650" y="447"/>
                  </a:lnTo>
                  <a:lnTo>
                    <a:pt x="647" y="435"/>
                  </a:lnTo>
                  <a:lnTo>
                    <a:pt x="643" y="423"/>
                  </a:lnTo>
                  <a:lnTo>
                    <a:pt x="638" y="410"/>
                  </a:lnTo>
                  <a:lnTo>
                    <a:pt x="633" y="398"/>
                  </a:lnTo>
                  <a:lnTo>
                    <a:pt x="628" y="386"/>
                  </a:lnTo>
                  <a:lnTo>
                    <a:pt x="622" y="374"/>
                  </a:lnTo>
                  <a:lnTo>
                    <a:pt x="607" y="352"/>
                  </a:lnTo>
                  <a:lnTo>
                    <a:pt x="592" y="330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76" y="312"/>
                  </a:lnTo>
                  <a:lnTo>
                    <a:pt x="566" y="299"/>
                  </a:lnTo>
                  <a:lnTo>
                    <a:pt x="554" y="289"/>
                  </a:lnTo>
                  <a:lnTo>
                    <a:pt x="542" y="279"/>
                  </a:lnTo>
                  <a:lnTo>
                    <a:pt x="530" y="269"/>
                  </a:lnTo>
                  <a:lnTo>
                    <a:pt x="517" y="260"/>
                  </a:lnTo>
                  <a:lnTo>
                    <a:pt x="504" y="252"/>
                  </a:lnTo>
                  <a:lnTo>
                    <a:pt x="489" y="245"/>
                  </a:lnTo>
                  <a:lnTo>
                    <a:pt x="475" y="237"/>
                  </a:lnTo>
                  <a:lnTo>
                    <a:pt x="445" y="225"/>
                  </a:lnTo>
                  <a:lnTo>
                    <a:pt x="414" y="214"/>
                  </a:lnTo>
                  <a:lnTo>
                    <a:pt x="381" y="203"/>
                  </a:lnTo>
                  <a:lnTo>
                    <a:pt x="346" y="193"/>
                  </a:lnTo>
                  <a:lnTo>
                    <a:pt x="346" y="193"/>
                  </a:lnTo>
                  <a:lnTo>
                    <a:pt x="286" y="174"/>
                  </a:lnTo>
                  <a:lnTo>
                    <a:pt x="255" y="164"/>
                  </a:lnTo>
                  <a:lnTo>
                    <a:pt x="224" y="151"/>
                  </a:lnTo>
                  <a:lnTo>
                    <a:pt x="192" y="138"/>
                  </a:lnTo>
                  <a:lnTo>
                    <a:pt x="161" y="124"/>
                  </a:lnTo>
                  <a:lnTo>
                    <a:pt x="130" y="106"/>
                  </a:lnTo>
                  <a:lnTo>
                    <a:pt x="115" y="96"/>
                  </a:lnTo>
                  <a:lnTo>
                    <a:pt x="99" y="85"/>
                  </a:lnTo>
                  <a:lnTo>
                    <a:pt x="99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21">
              <a:extLst>
                <a:ext uri="{FF2B5EF4-FFF2-40B4-BE49-F238E27FC236}">
                  <a16:creationId xmlns:a16="http://schemas.microsoft.com/office/drawing/2014/main" id="{0AE96F58-87E5-4856-8021-610E56C55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0588" y="1887538"/>
              <a:ext cx="200025" cy="192088"/>
            </a:xfrm>
            <a:custGeom>
              <a:avLst/>
              <a:gdLst>
                <a:gd name="T0" fmla="*/ 504 w 879"/>
                <a:gd name="T1" fmla="*/ 849 h 849"/>
                <a:gd name="T2" fmla="*/ 493 w 879"/>
                <a:gd name="T3" fmla="*/ 847 h 849"/>
                <a:gd name="T4" fmla="*/ 481 w 879"/>
                <a:gd name="T5" fmla="*/ 838 h 849"/>
                <a:gd name="T6" fmla="*/ 475 w 879"/>
                <a:gd name="T7" fmla="*/ 823 h 849"/>
                <a:gd name="T8" fmla="*/ 462 w 879"/>
                <a:gd name="T9" fmla="*/ 780 h 849"/>
                <a:gd name="T10" fmla="*/ 424 w 879"/>
                <a:gd name="T11" fmla="*/ 666 h 849"/>
                <a:gd name="T12" fmla="*/ 365 w 879"/>
                <a:gd name="T13" fmla="*/ 533 h 849"/>
                <a:gd name="T14" fmla="*/ 317 w 879"/>
                <a:gd name="T15" fmla="*/ 443 h 849"/>
                <a:gd name="T16" fmla="*/ 259 w 879"/>
                <a:gd name="T17" fmla="*/ 348 h 849"/>
                <a:gd name="T18" fmla="*/ 189 w 879"/>
                <a:gd name="T19" fmla="*/ 250 h 849"/>
                <a:gd name="T20" fmla="*/ 106 w 879"/>
                <a:gd name="T21" fmla="*/ 153 h 849"/>
                <a:gd name="T22" fmla="*/ 11 w 879"/>
                <a:gd name="T23" fmla="*/ 57 h 849"/>
                <a:gd name="T24" fmla="*/ 3 w 879"/>
                <a:gd name="T25" fmla="*/ 47 h 849"/>
                <a:gd name="T26" fmla="*/ 0 w 879"/>
                <a:gd name="T27" fmla="*/ 28 h 849"/>
                <a:gd name="T28" fmla="*/ 8 w 879"/>
                <a:gd name="T29" fmla="*/ 11 h 849"/>
                <a:gd name="T30" fmla="*/ 19 w 879"/>
                <a:gd name="T31" fmla="*/ 4 h 849"/>
                <a:gd name="T32" fmla="*/ 38 w 879"/>
                <a:gd name="T33" fmla="*/ 0 h 849"/>
                <a:gd name="T34" fmla="*/ 56 w 879"/>
                <a:gd name="T35" fmla="*/ 9 h 849"/>
                <a:gd name="T36" fmla="*/ 106 w 879"/>
                <a:gd name="T37" fmla="*/ 56 h 849"/>
                <a:gd name="T38" fmla="*/ 177 w 879"/>
                <a:gd name="T39" fmla="*/ 131 h 849"/>
                <a:gd name="T40" fmla="*/ 240 w 879"/>
                <a:gd name="T41" fmla="*/ 206 h 849"/>
                <a:gd name="T42" fmla="*/ 343 w 879"/>
                <a:gd name="T43" fmla="*/ 355 h 849"/>
                <a:gd name="T44" fmla="*/ 422 w 879"/>
                <a:gd name="T45" fmla="*/ 497 h 849"/>
                <a:gd name="T46" fmla="*/ 478 w 879"/>
                <a:gd name="T47" fmla="*/ 621 h 849"/>
                <a:gd name="T48" fmla="*/ 514 w 879"/>
                <a:gd name="T49" fmla="*/ 721 h 849"/>
                <a:gd name="T50" fmla="*/ 549 w 879"/>
                <a:gd name="T51" fmla="*/ 657 h 849"/>
                <a:gd name="T52" fmla="*/ 595 w 879"/>
                <a:gd name="T53" fmla="*/ 586 h 849"/>
                <a:gd name="T54" fmla="*/ 653 w 879"/>
                <a:gd name="T55" fmla="*/ 514 h 849"/>
                <a:gd name="T56" fmla="*/ 722 w 879"/>
                <a:gd name="T57" fmla="*/ 445 h 849"/>
                <a:gd name="T58" fmla="*/ 803 w 879"/>
                <a:gd name="T59" fmla="*/ 387 h 849"/>
                <a:gd name="T60" fmla="*/ 838 w 879"/>
                <a:gd name="T61" fmla="*/ 369 h 849"/>
                <a:gd name="T62" fmla="*/ 858 w 879"/>
                <a:gd name="T63" fmla="*/ 369 h 849"/>
                <a:gd name="T64" fmla="*/ 873 w 879"/>
                <a:gd name="T65" fmla="*/ 380 h 849"/>
                <a:gd name="T66" fmla="*/ 878 w 879"/>
                <a:gd name="T67" fmla="*/ 392 h 849"/>
                <a:gd name="T68" fmla="*/ 878 w 879"/>
                <a:gd name="T69" fmla="*/ 411 h 849"/>
                <a:gd name="T70" fmla="*/ 867 w 879"/>
                <a:gd name="T71" fmla="*/ 427 h 849"/>
                <a:gd name="T72" fmla="*/ 842 w 879"/>
                <a:gd name="T73" fmla="*/ 440 h 849"/>
                <a:gd name="T74" fmla="*/ 786 w 879"/>
                <a:gd name="T75" fmla="*/ 477 h 849"/>
                <a:gd name="T76" fmla="*/ 737 w 879"/>
                <a:gd name="T77" fmla="*/ 521 h 849"/>
                <a:gd name="T78" fmla="*/ 692 w 879"/>
                <a:gd name="T79" fmla="*/ 569 h 849"/>
                <a:gd name="T80" fmla="*/ 621 w 879"/>
                <a:gd name="T81" fmla="*/ 668 h 849"/>
                <a:gd name="T82" fmla="*/ 570 w 879"/>
                <a:gd name="T83" fmla="*/ 756 h 849"/>
                <a:gd name="T84" fmla="*/ 538 w 879"/>
                <a:gd name="T85" fmla="*/ 828 h 849"/>
                <a:gd name="T86" fmla="*/ 533 w 879"/>
                <a:gd name="T87" fmla="*/ 836 h 849"/>
                <a:gd name="T88" fmla="*/ 521 w 879"/>
                <a:gd name="T89" fmla="*/ 846 h 849"/>
                <a:gd name="T90" fmla="*/ 507 w 879"/>
                <a:gd name="T91" fmla="*/ 849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79" h="849">
                  <a:moveTo>
                    <a:pt x="507" y="849"/>
                  </a:moveTo>
                  <a:lnTo>
                    <a:pt x="507" y="849"/>
                  </a:lnTo>
                  <a:lnTo>
                    <a:pt x="504" y="849"/>
                  </a:lnTo>
                  <a:lnTo>
                    <a:pt x="504" y="849"/>
                  </a:lnTo>
                  <a:lnTo>
                    <a:pt x="499" y="849"/>
                  </a:lnTo>
                  <a:lnTo>
                    <a:pt x="493" y="847"/>
                  </a:lnTo>
                  <a:lnTo>
                    <a:pt x="489" y="845"/>
                  </a:lnTo>
                  <a:lnTo>
                    <a:pt x="485" y="842"/>
                  </a:lnTo>
                  <a:lnTo>
                    <a:pt x="481" y="838"/>
                  </a:lnTo>
                  <a:lnTo>
                    <a:pt x="478" y="833"/>
                  </a:lnTo>
                  <a:lnTo>
                    <a:pt x="476" y="828"/>
                  </a:lnTo>
                  <a:lnTo>
                    <a:pt x="475" y="823"/>
                  </a:lnTo>
                  <a:lnTo>
                    <a:pt x="475" y="823"/>
                  </a:lnTo>
                  <a:lnTo>
                    <a:pt x="470" y="802"/>
                  </a:lnTo>
                  <a:lnTo>
                    <a:pt x="462" y="780"/>
                  </a:lnTo>
                  <a:lnTo>
                    <a:pt x="453" y="748"/>
                  </a:lnTo>
                  <a:lnTo>
                    <a:pt x="440" y="710"/>
                  </a:lnTo>
                  <a:lnTo>
                    <a:pt x="424" y="666"/>
                  </a:lnTo>
                  <a:lnTo>
                    <a:pt x="403" y="616"/>
                  </a:lnTo>
                  <a:lnTo>
                    <a:pt x="380" y="562"/>
                  </a:lnTo>
                  <a:lnTo>
                    <a:pt x="365" y="533"/>
                  </a:lnTo>
                  <a:lnTo>
                    <a:pt x="351" y="504"/>
                  </a:lnTo>
                  <a:lnTo>
                    <a:pt x="335" y="474"/>
                  </a:lnTo>
                  <a:lnTo>
                    <a:pt x="317" y="443"/>
                  </a:lnTo>
                  <a:lnTo>
                    <a:pt x="300" y="411"/>
                  </a:lnTo>
                  <a:lnTo>
                    <a:pt x="280" y="380"/>
                  </a:lnTo>
                  <a:lnTo>
                    <a:pt x="259" y="348"/>
                  </a:lnTo>
                  <a:lnTo>
                    <a:pt x="237" y="315"/>
                  </a:lnTo>
                  <a:lnTo>
                    <a:pt x="214" y="283"/>
                  </a:lnTo>
                  <a:lnTo>
                    <a:pt x="189" y="250"/>
                  </a:lnTo>
                  <a:lnTo>
                    <a:pt x="163" y="217"/>
                  </a:lnTo>
                  <a:lnTo>
                    <a:pt x="135" y="185"/>
                  </a:lnTo>
                  <a:lnTo>
                    <a:pt x="106" y="153"/>
                  </a:lnTo>
                  <a:lnTo>
                    <a:pt x="76" y="120"/>
                  </a:lnTo>
                  <a:lnTo>
                    <a:pt x="44" y="88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6" y="52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5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5" y="16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3" y="7"/>
                  </a:lnTo>
                  <a:lnTo>
                    <a:pt x="19" y="4"/>
                  </a:lnTo>
                  <a:lnTo>
                    <a:pt x="25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4" y="1"/>
                  </a:lnTo>
                  <a:lnTo>
                    <a:pt x="49" y="5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81" y="33"/>
                  </a:lnTo>
                  <a:lnTo>
                    <a:pt x="106" y="56"/>
                  </a:lnTo>
                  <a:lnTo>
                    <a:pt x="131" y="81"/>
                  </a:lnTo>
                  <a:lnTo>
                    <a:pt x="154" y="106"/>
                  </a:lnTo>
                  <a:lnTo>
                    <a:pt x="177" y="131"/>
                  </a:lnTo>
                  <a:lnTo>
                    <a:pt x="198" y="156"/>
                  </a:lnTo>
                  <a:lnTo>
                    <a:pt x="219" y="182"/>
                  </a:lnTo>
                  <a:lnTo>
                    <a:pt x="240" y="206"/>
                  </a:lnTo>
                  <a:lnTo>
                    <a:pt x="277" y="256"/>
                  </a:lnTo>
                  <a:lnTo>
                    <a:pt x="312" y="307"/>
                  </a:lnTo>
                  <a:lnTo>
                    <a:pt x="343" y="355"/>
                  </a:lnTo>
                  <a:lnTo>
                    <a:pt x="372" y="404"/>
                  </a:lnTo>
                  <a:lnTo>
                    <a:pt x="399" y="452"/>
                  </a:lnTo>
                  <a:lnTo>
                    <a:pt x="422" y="497"/>
                  </a:lnTo>
                  <a:lnTo>
                    <a:pt x="443" y="541"/>
                  </a:lnTo>
                  <a:lnTo>
                    <a:pt x="461" y="582"/>
                  </a:lnTo>
                  <a:lnTo>
                    <a:pt x="478" y="621"/>
                  </a:lnTo>
                  <a:lnTo>
                    <a:pt x="492" y="657"/>
                  </a:lnTo>
                  <a:lnTo>
                    <a:pt x="504" y="691"/>
                  </a:lnTo>
                  <a:lnTo>
                    <a:pt x="514" y="721"/>
                  </a:lnTo>
                  <a:lnTo>
                    <a:pt x="514" y="721"/>
                  </a:lnTo>
                  <a:lnTo>
                    <a:pt x="536" y="679"/>
                  </a:lnTo>
                  <a:lnTo>
                    <a:pt x="549" y="657"/>
                  </a:lnTo>
                  <a:lnTo>
                    <a:pt x="563" y="634"/>
                  </a:lnTo>
                  <a:lnTo>
                    <a:pt x="578" y="610"/>
                  </a:lnTo>
                  <a:lnTo>
                    <a:pt x="595" y="586"/>
                  </a:lnTo>
                  <a:lnTo>
                    <a:pt x="612" y="562"/>
                  </a:lnTo>
                  <a:lnTo>
                    <a:pt x="632" y="537"/>
                  </a:lnTo>
                  <a:lnTo>
                    <a:pt x="653" y="514"/>
                  </a:lnTo>
                  <a:lnTo>
                    <a:pt x="674" y="490"/>
                  </a:lnTo>
                  <a:lnTo>
                    <a:pt x="697" y="467"/>
                  </a:lnTo>
                  <a:lnTo>
                    <a:pt x="722" y="445"/>
                  </a:lnTo>
                  <a:lnTo>
                    <a:pt x="747" y="425"/>
                  </a:lnTo>
                  <a:lnTo>
                    <a:pt x="774" y="405"/>
                  </a:lnTo>
                  <a:lnTo>
                    <a:pt x="803" y="387"/>
                  </a:lnTo>
                  <a:lnTo>
                    <a:pt x="832" y="371"/>
                  </a:lnTo>
                  <a:lnTo>
                    <a:pt x="832" y="371"/>
                  </a:lnTo>
                  <a:lnTo>
                    <a:pt x="838" y="369"/>
                  </a:lnTo>
                  <a:lnTo>
                    <a:pt x="845" y="368"/>
                  </a:lnTo>
                  <a:lnTo>
                    <a:pt x="851" y="368"/>
                  </a:lnTo>
                  <a:lnTo>
                    <a:pt x="858" y="369"/>
                  </a:lnTo>
                  <a:lnTo>
                    <a:pt x="863" y="372"/>
                  </a:lnTo>
                  <a:lnTo>
                    <a:pt x="868" y="375"/>
                  </a:lnTo>
                  <a:lnTo>
                    <a:pt x="873" y="380"/>
                  </a:lnTo>
                  <a:lnTo>
                    <a:pt x="876" y="385"/>
                  </a:lnTo>
                  <a:lnTo>
                    <a:pt x="876" y="385"/>
                  </a:lnTo>
                  <a:lnTo>
                    <a:pt x="878" y="392"/>
                  </a:lnTo>
                  <a:lnTo>
                    <a:pt x="879" y="399"/>
                  </a:lnTo>
                  <a:lnTo>
                    <a:pt x="879" y="405"/>
                  </a:lnTo>
                  <a:lnTo>
                    <a:pt x="878" y="411"/>
                  </a:lnTo>
                  <a:lnTo>
                    <a:pt x="875" y="416"/>
                  </a:lnTo>
                  <a:lnTo>
                    <a:pt x="872" y="422"/>
                  </a:lnTo>
                  <a:lnTo>
                    <a:pt x="867" y="427"/>
                  </a:lnTo>
                  <a:lnTo>
                    <a:pt x="862" y="430"/>
                  </a:lnTo>
                  <a:lnTo>
                    <a:pt x="862" y="430"/>
                  </a:lnTo>
                  <a:lnTo>
                    <a:pt x="842" y="440"/>
                  </a:lnTo>
                  <a:lnTo>
                    <a:pt x="822" y="452"/>
                  </a:lnTo>
                  <a:lnTo>
                    <a:pt x="805" y="464"/>
                  </a:lnTo>
                  <a:lnTo>
                    <a:pt x="786" y="477"/>
                  </a:lnTo>
                  <a:lnTo>
                    <a:pt x="770" y="492"/>
                  </a:lnTo>
                  <a:lnTo>
                    <a:pt x="753" y="506"/>
                  </a:lnTo>
                  <a:lnTo>
                    <a:pt x="737" y="521"/>
                  </a:lnTo>
                  <a:lnTo>
                    <a:pt x="721" y="536"/>
                  </a:lnTo>
                  <a:lnTo>
                    <a:pt x="707" y="553"/>
                  </a:lnTo>
                  <a:lnTo>
                    <a:pt x="692" y="569"/>
                  </a:lnTo>
                  <a:lnTo>
                    <a:pt x="666" y="602"/>
                  </a:lnTo>
                  <a:lnTo>
                    <a:pt x="641" y="635"/>
                  </a:lnTo>
                  <a:lnTo>
                    <a:pt x="621" y="668"/>
                  </a:lnTo>
                  <a:lnTo>
                    <a:pt x="601" y="699"/>
                  </a:lnTo>
                  <a:lnTo>
                    <a:pt x="584" y="729"/>
                  </a:lnTo>
                  <a:lnTo>
                    <a:pt x="570" y="756"/>
                  </a:lnTo>
                  <a:lnTo>
                    <a:pt x="559" y="780"/>
                  </a:lnTo>
                  <a:lnTo>
                    <a:pt x="543" y="815"/>
                  </a:lnTo>
                  <a:lnTo>
                    <a:pt x="538" y="828"/>
                  </a:lnTo>
                  <a:lnTo>
                    <a:pt x="538" y="828"/>
                  </a:lnTo>
                  <a:lnTo>
                    <a:pt x="536" y="832"/>
                  </a:lnTo>
                  <a:lnTo>
                    <a:pt x="533" y="836"/>
                  </a:lnTo>
                  <a:lnTo>
                    <a:pt x="530" y="841"/>
                  </a:lnTo>
                  <a:lnTo>
                    <a:pt x="525" y="844"/>
                  </a:lnTo>
                  <a:lnTo>
                    <a:pt x="521" y="846"/>
                  </a:lnTo>
                  <a:lnTo>
                    <a:pt x="516" y="848"/>
                  </a:lnTo>
                  <a:lnTo>
                    <a:pt x="512" y="849"/>
                  </a:lnTo>
                  <a:lnTo>
                    <a:pt x="507" y="849"/>
                  </a:lnTo>
                  <a:lnTo>
                    <a:pt x="507" y="849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2047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9A02F3D-30F4-4916-9DDE-E6E5E9191B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30574C"/>
              </a:gs>
              <a:gs pos="45000">
                <a:srgbClr val="50745C"/>
              </a:gs>
              <a:gs pos="100000">
                <a:srgbClr val="95B27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3" name="Graphic 472">
            <a:extLst>
              <a:ext uri="{FF2B5EF4-FFF2-40B4-BE49-F238E27FC236}">
                <a16:creationId xmlns:a16="http://schemas.microsoft.com/office/drawing/2014/main" id="{AB8931FC-796F-4055-83AA-1B87C2EEC5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932382" flipH="1">
            <a:off x="6272220" y="4720556"/>
            <a:ext cx="1173145" cy="2510941"/>
          </a:xfrm>
          <a:prstGeom prst="rect">
            <a:avLst/>
          </a:prstGeom>
        </p:spPr>
      </p:pic>
      <p:sp>
        <p:nvSpPr>
          <p:cNvPr id="1389" name="Rectangle 1388">
            <a:extLst>
              <a:ext uri="{FF2B5EF4-FFF2-40B4-BE49-F238E27FC236}">
                <a16:creationId xmlns:a16="http://schemas.microsoft.com/office/drawing/2014/main" id="{CAD70C42-255D-4ECC-9B68-417C5CD90DF1}"/>
              </a:ext>
            </a:extLst>
          </p:cNvPr>
          <p:cNvSpPr/>
          <p:nvPr/>
        </p:nvSpPr>
        <p:spPr>
          <a:xfrm>
            <a:off x="2351313" y="5871029"/>
            <a:ext cx="5112293" cy="1009462"/>
          </a:xfrm>
          <a:prstGeom prst="rect">
            <a:avLst/>
          </a:prstGeom>
          <a:solidFill>
            <a:srgbClr val="2A3E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8" name="Rectangle: Single Corner Rounded 1387">
            <a:extLst>
              <a:ext uri="{FF2B5EF4-FFF2-40B4-BE49-F238E27FC236}">
                <a16:creationId xmlns:a16="http://schemas.microsoft.com/office/drawing/2014/main" id="{3415865A-C8F4-4DF3-884A-120F016A3521}"/>
              </a:ext>
            </a:extLst>
          </p:cNvPr>
          <p:cNvSpPr/>
          <p:nvPr/>
        </p:nvSpPr>
        <p:spPr>
          <a:xfrm flipH="1">
            <a:off x="680191" y="5871029"/>
            <a:ext cx="2312753" cy="1001305"/>
          </a:xfrm>
          <a:prstGeom prst="round1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7" name="Graphic 460">
            <a:extLst>
              <a:ext uri="{FF2B5EF4-FFF2-40B4-BE49-F238E27FC236}">
                <a16:creationId xmlns:a16="http://schemas.microsoft.com/office/drawing/2014/main" id="{5FE0F5A2-9FFE-4C53-AD07-F1994A01E598}"/>
              </a:ext>
            </a:extLst>
          </p:cNvPr>
          <p:cNvSpPr/>
          <p:nvPr/>
        </p:nvSpPr>
        <p:spPr>
          <a:xfrm>
            <a:off x="5750437" y="4056318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80" name="Graphic 1379">
            <a:extLst>
              <a:ext uri="{FF2B5EF4-FFF2-40B4-BE49-F238E27FC236}">
                <a16:creationId xmlns:a16="http://schemas.microsoft.com/office/drawing/2014/main" id="{83733D6B-E099-4335-A325-21FCE22B53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9599" y="4598534"/>
            <a:ext cx="1721844" cy="241948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F53EEAF-A340-46D9-9B2B-2E647FB36F17}"/>
              </a:ext>
            </a:extLst>
          </p:cNvPr>
          <p:cNvSpPr/>
          <p:nvPr/>
        </p:nvSpPr>
        <p:spPr>
          <a:xfrm>
            <a:off x="10900228" y="0"/>
            <a:ext cx="1291771" cy="1358900"/>
          </a:xfrm>
          <a:prstGeom prst="rect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C1EB366-190C-4A7D-AF0A-9CAB921FFF84}"/>
              </a:ext>
            </a:extLst>
          </p:cNvPr>
          <p:cNvSpPr/>
          <p:nvPr/>
        </p:nvSpPr>
        <p:spPr>
          <a:xfrm>
            <a:off x="0" y="-635000"/>
            <a:ext cx="444500" cy="444500"/>
          </a:xfrm>
          <a:prstGeom prst="ellipse">
            <a:avLst/>
          </a:prstGeom>
          <a:solidFill>
            <a:srgbClr val="305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BDC1E75-354F-402E-94A2-F5E0C8FF60CA}"/>
              </a:ext>
            </a:extLst>
          </p:cNvPr>
          <p:cNvSpPr/>
          <p:nvPr/>
        </p:nvSpPr>
        <p:spPr>
          <a:xfrm>
            <a:off x="558800" y="-635000"/>
            <a:ext cx="444500" cy="444500"/>
          </a:xfrm>
          <a:prstGeom prst="ellipse">
            <a:avLst/>
          </a:prstGeom>
          <a:solidFill>
            <a:srgbClr val="90B0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6682FED-664D-44EA-9502-B4401CE465AA}"/>
              </a:ext>
            </a:extLst>
          </p:cNvPr>
          <p:cNvSpPr/>
          <p:nvPr/>
        </p:nvSpPr>
        <p:spPr>
          <a:xfrm>
            <a:off x="1117600" y="-635000"/>
            <a:ext cx="444500" cy="444500"/>
          </a:xfrm>
          <a:prstGeom prst="ellipse">
            <a:avLst/>
          </a:prstGeom>
          <a:solidFill>
            <a:srgbClr val="2A3E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B8D0CD9-2222-4EAB-80DA-05CE0B3CF50E}"/>
              </a:ext>
            </a:extLst>
          </p:cNvPr>
          <p:cNvSpPr/>
          <p:nvPr/>
        </p:nvSpPr>
        <p:spPr>
          <a:xfrm>
            <a:off x="1676400" y="-635000"/>
            <a:ext cx="444500" cy="444500"/>
          </a:xfrm>
          <a:prstGeom prst="ellipse">
            <a:avLst/>
          </a:prstGeom>
          <a:solidFill>
            <a:srgbClr val="E1BE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39E06BB-9A1A-40F4-8C02-FF0936F8BB4C}"/>
              </a:ext>
            </a:extLst>
          </p:cNvPr>
          <p:cNvSpPr/>
          <p:nvPr/>
        </p:nvSpPr>
        <p:spPr>
          <a:xfrm>
            <a:off x="2235200" y="-635000"/>
            <a:ext cx="444500" cy="444500"/>
          </a:xfrm>
          <a:prstGeom prst="ellipse">
            <a:avLst/>
          </a:prstGeom>
          <a:solidFill>
            <a:srgbClr val="D7ED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6BFB6E9-B315-4140-8C1B-98453CDD60F1}"/>
              </a:ext>
            </a:extLst>
          </p:cNvPr>
          <p:cNvSpPr/>
          <p:nvPr/>
        </p:nvSpPr>
        <p:spPr>
          <a:xfrm>
            <a:off x="2794000" y="-635000"/>
            <a:ext cx="444500" cy="444500"/>
          </a:xfrm>
          <a:prstGeom prst="ellipse">
            <a:avLst/>
          </a:prstGeom>
          <a:solidFill>
            <a:srgbClr val="FDFE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BA00F6BD-ABD4-4B87-80EE-C5ED4FFBABCC}"/>
              </a:ext>
            </a:extLst>
          </p:cNvPr>
          <p:cNvSpPr/>
          <p:nvPr/>
        </p:nvSpPr>
        <p:spPr>
          <a:xfrm flipH="1">
            <a:off x="7518400" y="986970"/>
            <a:ext cx="4673600" cy="5871029"/>
          </a:xfrm>
          <a:prstGeom prst="round1Rect">
            <a:avLst/>
          </a:prstGeom>
          <a:solidFill>
            <a:srgbClr val="D7EDC7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7704C4-D420-491B-8C40-7D3ECDD781BC}"/>
              </a:ext>
            </a:extLst>
          </p:cNvPr>
          <p:cNvSpPr txBox="1"/>
          <p:nvPr/>
        </p:nvSpPr>
        <p:spPr>
          <a:xfrm>
            <a:off x="647536" y="1787111"/>
            <a:ext cx="515896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0" b="1" dirty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F15DDD-3A8E-4D1C-992C-25A6CA7AF82C}"/>
              </a:ext>
            </a:extLst>
          </p:cNvPr>
          <p:cNvSpPr txBox="1"/>
          <p:nvPr/>
        </p:nvSpPr>
        <p:spPr>
          <a:xfrm>
            <a:off x="1153372" y="468312"/>
            <a:ext cx="149055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YOUR LOGO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CD618F2-46D3-4DA6-BF1C-E3B3AF8AE5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4644" y="354647"/>
            <a:ext cx="327932" cy="327932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CAC60A45-3DB6-4596-B21E-9EF4114BA878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1205457-0811-4FBC-A795-BBAFD80C9CD7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46EE3D1-DC52-4B65-98F4-8CA8BF5E401E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5DD88DB-1F75-48E5-8F5A-F730EB473A86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Picture 31" descr="Green-leafed Plant">
            <a:extLst>
              <a:ext uri="{FF2B5EF4-FFF2-40B4-BE49-F238E27FC236}">
                <a16:creationId xmlns:a16="http://schemas.microsoft.com/office/drawing/2014/main" id="{1393E241-A3C1-4C3D-8DD8-ED8E4D0C5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53"/>
          <a:stretch>
            <a:fillRect/>
          </a:stretch>
        </p:blipFill>
        <p:spPr bwMode="auto">
          <a:xfrm>
            <a:off x="7518401" y="986970"/>
            <a:ext cx="4673599" cy="5871029"/>
          </a:xfrm>
          <a:custGeom>
            <a:avLst/>
            <a:gdLst>
              <a:gd name="connsiteX0" fmla="*/ 778949 w 4673599"/>
              <a:gd name="connsiteY0" fmla="*/ 0 h 5871029"/>
              <a:gd name="connsiteX1" fmla="*/ 4673599 w 4673599"/>
              <a:gd name="connsiteY1" fmla="*/ 0 h 5871029"/>
              <a:gd name="connsiteX2" fmla="*/ 4673599 w 4673599"/>
              <a:gd name="connsiteY2" fmla="*/ 5871029 h 5871029"/>
              <a:gd name="connsiteX3" fmla="*/ 0 w 4673599"/>
              <a:gd name="connsiteY3" fmla="*/ 5871029 h 5871029"/>
              <a:gd name="connsiteX4" fmla="*/ 0 w 4673599"/>
              <a:gd name="connsiteY4" fmla="*/ 778949 h 5871029"/>
              <a:gd name="connsiteX5" fmla="*/ 778949 w 4673599"/>
              <a:gd name="connsiteY5" fmla="*/ 0 h 587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3599" h="5871029">
                <a:moveTo>
                  <a:pt x="778949" y="0"/>
                </a:moveTo>
                <a:lnTo>
                  <a:pt x="4673599" y="0"/>
                </a:lnTo>
                <a:lnTo>
                  <a:pt x="4673599" y="5871029"/>
                </a:lnTo>
                <a:lnTo>
                  <a:pt x="0" y="5871029"/>
                </a:lnTo>
                <a:lnTo>
                  <a:pt x="0" y="778949"/>
                </a:lnTo>
                <a:cubicBezTo>
                  <a:pt x="0" y="348747"/>
                  <a:pt x="348747" y="0"/>
                  <a:pt x="778949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A680EDD-03F5-4CFF-A40B-D3912B65D23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666" y="385832"/>
            <a:ext cx="2816472" cy="1676886"/>
          </a:xfrm>
          <a:prstGeom prst="rect">
            <a:avLst/>
          </a:prstGeom>
        </p:spPr>
      </p:pic>
      <p:pic>
        <p:nvPicPr>
          <p:cNvPr id="1377" name="Graphic 1376">
            <a:extLst>
              <a:ext uri="{FF2B5EF4-FFF2-40B4-BE49-F238E27FC236}">
                <a16:creationId xmlns:a16="http://schemas.microsoft.com/office/drawing/2014/main" id="{0DE58F00-7DF8-4DC1-8E6C-BFB9E9FA0E3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171987" y="4075345"/>
            <a:ext cx="1525277" cy="3315820"/>
          </a:xfrm>
          <a:prstGeom prst="rect">
            <a:avLst/>
          </a:prstGeom>
        </p:spPr>
      </p:pic>
      <p:pic>
        <p:nvPicPr>
          <p:cNvPr id="1379" name="Graphic 1378">
            <a:extLst>
              <a:ext uri="{FF2B5EF4-FFF2-40B4-BE49-F238E27FC236}">
                <a16:creationId xmlns:a16="http://schemas.microsoft.com/office/drawing/2014/main" id="{8A6FC5A6-E874-4766-8949-4C4ABFC12C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05036" y="4362057"/>
            <a:ext cx="1194638" cy="2730601"/>
          </a:xfrm>
          <a:prstGeom prst="rect">
            <a:avLst/>
          </a:prstGeom>
        </p:spPr>
      </p:pic>
      <p:pic>
        <p:nvPicPr>
          <p:cNvPr id="1382" name="Graphic 1381">
            <a:extLst>
              <a:ext uri="{FF2B5EF4-FFF2-40B4-BE49-F238E27FC236}">
                <a16:creationId xmlns:a16="http://schemas.microsoft.com/office/drawing/2014/main" id="{DD913929-155B-4D1C-9292-77335173F3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21867">
            <a:off x="7515675" y="4528686"/>
            <a:ext cx="1173145" cy="2510941"/>
          </a:xfrm>
          <a:prstGeom prst="rect">
            <a:avLst/>
          </a:prstGeom>
        </p:spPr>
      </p:pic>
      <p:pic>
        <p:nvPicPr>
          <p:cNvPr id="1383" name="Graphic 1382">
            <a:extLst>
              <a:ext uri="{FF2B5EF4-FFF2-40B4-BE49-F238E27FC236}">
                <a16:creationId xmlns:a16="http://schemas.microsoft.com/office/drawing/2014/main" id="{682E9BA8-0316-40EE-B8C9-3B910B947EA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16664766">
            <a:off x="6240679" y="5514772"/>
            <a:ext cx="1361312" cy="1563821"/>
          </a:xfrm>
          <a:prstGeom prst="rect">
            <a:avLst/>
          </a:prstGeom>
        </p:spPr>
      </p:pic>
      <p:grpSp>
        <p:nvGrpSpPr>
          <p:cNvPr id="1289" name="Graphic 1287">
            <a:extLst>
              <a:ext uri="{FF2B5EF4-FFF2-40B4-BE49-F238E27FC236}">
                <a16:creationId xmlns:a16="http://schemas.microsoft.com/office/drawing/2014/main" id="{3AF0CC9A-49BC-41AD-A10C-81F1C9646867}"/>
              </a:ext>
            </a:extLst>
          </p:cNvPr>
          <p:cNvGrpSpPr/>
          <p:nvPr/>
        </p:nvGrpSpPr>
        <p:grpSpPr>
          <a:xfrm rot="1430481">
            <a:off x="6428277" y="2766044"/>
            <a:ext cx="4361049" cy="3251326"/>
            <a:chOff x="6781381" y="3074167"/>
            <a:chExt cx="3780722" cy="2818670"/>
          </a:xfrm>
        </p:grpSpPr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F0E66A07-ACE5-4CB8-8EDD-36554B0C88A2}"/>
                </a:ext>
              </a:extLst>
            </p:cNvPr>
            <p:cNvSpPr/>
            <p:nvPr/>
          </p:nvSpPr>
          <p:spPr>
            <a:xfrm>
              <a:off x="8051053" y="3974665"/>
              <a:ext cx="1756792" cy="364916"/>
            </a:xfrm>
            <a:custGeom>
              <a:avLst/>
              <a:gdLst>
                <a:gd name="connsiteX0" fmla="*/ 1495879 w 1756792"/>
                <a:gd name="connsiteY0" fmla="*/ 235695 h 364916"/>
                <a:gd name="connsiteX1" fmla="*/ 679659 w 1756792"/>
                <a:gd name="connsiteY1" fmla="*/ 155130 h 364916"/>
                <a:gd name="connsiteX2" fmla="*/ 45425 w 1756792"/>
                <a:gd name="connsiteY2" fmla="*/ 11999 h 364916"/>
                <a:gd name="connsiteX3" fmla="*/ 0 w 1756792"/>
                <a:gd name="connsiteY3" fmla="*/ 0 h 364916"/>
                <a:gd name="connsiteX4" fmla="*/ 73137 w 1756792"/>
                <a:gd name="connsiteY4" fmla="*/ 249980 h 364916"/>
                <a:gd name="connsiteX5" fmla="*/ 481961 w 1756792"/>
                <a:gd name="connsiteY5" fmla="*/ 332544 h 364916"/>
                <a:gd name="connsiteX6" fmla="*/ 611093 w 1756792"/>
                <a:gd name="connsiteY6" fmla="*/ 323402 h 364916"/>
                <a:gd name="connsiteX7" fmla="*/ 1194760 w 1756792"/>
                <a:gd name="connsiteY7" fmla="*/ 364828 h 364916"/>
                <a:gd name="connsiteX8" fmla="*/ 1458453 w 1756792"/>
                <a:gd name="connsiteY8" fmla="*/ 269692 h 364916"/>
                <a:gd name="connsiteX9" fmla="*/ 1524448 w 1756792"/>
                <a:gd name="connsiteY9" fmla="*/ 235981 h 364916"/>
                <a:gd name="connsiteX10" fmla="*/ 1495879 w 1756792"/>
                <a:gd name="connsiteY10" fmla="*/ 235695 h 36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6792" h="364916">
                  <a:moveTo>
                    <a:pt x="1495879" y="235695"/>
                  </a:moveTo>
                  <a:cubicBezTo>
                    <a:pt x="1138479" y="231410"/>
                    <a:pt x="857931" y="185128"/>
                    <a:pt x="679659" y="155130"/>
                  </a:cubicBezTo>
                  <a:cubicBezTo>
                    <a:pt x="429108" y="112848"/>
                    <a:pt x="241980" y="63995"/>
                    <a:pt x="45425" y="11999"/>
                  </a:cubicBezTo>
                  <a:cubicBezTo>
                    <a:pt x="30283" y="7999"/>
                    <a:pt x="15142" y="4000"/>
                    <a:pt x="0" y="0"/>
                  </a:cubicBezTo>
                  <a:cubicBezTo>
                    <a:pt x="4000" y="87422"/>
                    <a:pt x="30569" y="178271"/>
                    <a:pt x="73137" y="249980"/>
                  </a:cubicBezTo>
                  <a:cubicBezTo>
                    <a:pt x="177129" y="274835"/>
                    <a:pt x="308832" y="302833"/>
                    <a:pt x="481961" y="332544"/>
                  </a:cubicBezTo>
                  <a:cubicBezTo>
                    <a:pt x="518815" y="326831"/>
                    <a:pt x="561098" y="323117"/>
                    <a:pt x="611093" y="323402"/>
                  </a:cubicBezTo>
                  <a:cubicBezTo>
                    <a:pt x="890499" y="324831"/>
                    <a:pt x="967922" y="367113"/>
                    <a:pt x="1194760" y="364828"/>
                  </a:cubicBezTo>
                  <a:cubicBezTo>
                    <a:pt x="2310384" y="353400"/>
                    <a:pt x="1412743" y="329688"/>
                    <a:pt x="1458453" y="269692"/>
                  </a:cubicBezTo>
                  <a:cubicBezTo>
                    <a:pt x="1473881" y="249694"/>
                    <a:pt x="1502450" y="246266"/>
                    <a:pt x="1524448" y="235981"/>
                  </a:cubicBezTo>
                  <a:cubicBezTo>
                    <a:pt x="1515306" y="235981"/>
                    <a:pt x="1505592" y="235981"/>
                    <a:pt x="1495879" y="235695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4C1DE5FF-3278-4C4F-A52E-BE969F62DA49}"/>
                </a:ext>
              </a:extLst>
            </p:cNvPr>
            <p:cNvSpPr/>
            <p:nvPr/>
          </p:nvSpPr>
          <p:spPr>
            <a:xfrm>
              <a:off x="8205610" y="4155943"/>
              <a:ext cx="170380" cy="141627"/>
            </a:xfrm>
            <a:custGeom>
              <a:avLst/>
              <a:gdLst>
                <a:gd name="connsiteX0" fmla="*/ 84852 w 170380"/>
                <a:gd name="connsiteY0" fmla="*/ 140410 h 141627"/>
                <a:gd name="connsiteX1" fmla="*/ 167131 w 170380"/>
                <a:gd name="connsiteY1" fmla="*/ 62131 h 141627"/>
                <a:gd name="connsiteX2" fmla="*/ 158560 w 170380"/>
                <a:gd name="connsiteY2" fmla="*/ 422 h 141627"/>
                <a:gd name="connsiteX3" fmla="*/ 91423 w 170380"/>
                <a:gd name="connsiteY3" fmla="*/ 60417 h 141627"/>
                <a:gd name="connsiteX4" fmla="*/ 1 w 170380"/>
                <a:gd name="connsiteY4" fmla="*/ 109556 h 141627"/>
                <a:gd name="connsiteX5" fmla="*/ 84852 w 170380"/>
                <a:gd name="connsiteY5" fmla="*/ 140410 h 141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80" h="141627">
                  <a:moveTo>
                    <a:pt x="84852" y="140410"/>
                  </a:moveTo>
                  <a:cubicBezTo>
                    <a:pt x="126848" y="133839"/>
                    <a:pt x="158274" y="98414"/>
                    <a:pt x="167131" y="62131"/>
                  </a:cubicBezTo>
                  <a:cubicBezTo>
                    <a:pt x="173130" y="38133"/>
                    <a:pt x="171130" y="4707"/>
                    <a:pt x="158560" y="422"/>
                  </a:cubicBezTo>
                  <a:cubicBezTo>
                    <a:pt x="145133" y="-4149"/>
                    <a:pt x="133419" y="29276"/>
                    <a:pt x="91423" y="60417"/>
                  </a:cubicBezTo>
                  <a:cubicBezTo>
                    <a:pt x="41712" y="97557"/>
                    <a:pt x="287" y="94128"/>
                    <a:pt x="1" y="109556"/>
                  </a:cubicBezTo>
                  <a:cubicBezTo>
                    <a:pt x="-284" y="125554"/>
                    <a:pt x="44284" y="146981"/>
                    <a:pt x="84852" y="14041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56C97589-AF10-40E1-BAC7-012C7C00E265}"/>
                </a:ext>
              </a:extLst>
            </p:cNvPr>
            <p:cNvSpPr/>
            <p:nvPr/>
          </p:nvSpPr>
          <p:spPr>
            <a:xfrm>
              <a:off x="8263034" y="4172513"/>
              <a:ext cx="170380" cy="141639"/>
            </a:xfrm>
            <a:custGeom>
              <a:avLst/>
              <a:gdLst>
                <a:gd name="connsiteX0" fmla="*/ 84852 w 170380"/>
                <a:gd name="connsiteY0" fmla="*/ 140410 h 141639"/>
                <a:gd name="connsiteX1" fmla="*/ 167131 w 170380"/>
                <a:gd name="connsiteY1" fmla="*/ 62131 h 141639"/>
                <a:gd name="connsiteX2" fmla="*/ 158560 w 170380"/>
                <a:gd name="connsiteY2" fmla="*/ 422 h 141639"/>
                <a:gd name="connsiteX3" fmla="*/ 91423 w 170380"/>
                <a:gd name="connsiteY3" fmla="*/ 60417 h 141639"/>
                <a:gd name="connsiteX4" fmla="*/ 1 w 170380"/>
                <a:gd name="connsiteY4" fmla="*/ 109556 h 141639"/>
                <a:gd name="connsiteX5" fmla="*/ 84852 w 170380"/>
                <a:gd name="connsiteY5" fmla="*/ 140410 h 14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80" h="141639">
                  <a:moveTo>
                    <a:pt x="84852" y="140410"/>
                  </a:moveTo>
                  <a:cubicBezTo>
                    <a:pt x="126848" y="133839"/>
                    <a:pt x="158274" y="98414"/>
                    <a:pt x="167131" y="62131"/>
                  </a:cubicBezTo>
                  <a:cubicBezTo>
                    <a:pt x="173130" y="38133"/>
                    <a:pt x="171130" y="4707"/>
                    <a:pt x="158560" y="422"/>
                  </a:cubicBezTo>
                  <a:cubicBezTo>
                    <a:pt x="145132" y="-4149"/>
                    <a:pt x="133419" y="29277"/>
                    <a:pt x="91423" y="60417"/>
                  </a:cubicBezTo>
                  <a:cubicBezTo>
                    <a:pt x="41712" y="97557"/>
                    <a:pt x="287" y="94128"/>
                    <a:pt x="1" y="109556"/>
                  </a:cubicBezTo>
                  <a:cubicBezTo>
                    <a:pt x="-284" y="125840"/>
                    <a:pt x="44283" y="146981"/>
                    <a:pt x="84852" y="14041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BCCC364D-8230-4EA8-9598-6603C574CB67}"/>
                </a:ext>
              </a:extLst>
            </p:cNvPr>
            <p:cNvSpPr/>
            <p:nvPr/>
          </p:nvSpPr>
          <p:spPr>
            <a:xfrm>
              <a:off x="8325311" y="4183369"/>
              <a:ext cx="170384" cy="141627"/>
            </a:xfrm>
            <a:custGeom>
              <a:avLst/>
              <a:gdLst>
                <a:gd name="connsiteX0" fmla="*/ 84856 w 170384"/>
                <a:gd name="connsiteY0" fmla="*/ 140410 h 141627"/>
                <a:gd name="connsiteX1" fmla="*/ 167135 w 170384"/>
                <a:gd name="connsiteY1" fmla="*/ 62131 h 141627"/>
                <a:gd name="connsiteX2" fmla="*/ 158564 w 170384"/>
                <a:gd name="connsiteY2" fmla="*/ 422 h 141627"/>
                <a:gd name="connsiteX3" fmla="*/ 91427 w 170384"/>
                <a:gd name="connsiteY3" fmla="*/ 60417 h 141627"/>
                <a:gd name="connsiteX4" fmla="*/ 5 w 170384"/>
                <a:gd name="connsiteY4" fmla="*/ 109556 h 141627"/>
                <a:gd name="connsiteX5" fmla="*/ 84856 w 170384"/>
                <a:gd name="connsiteY5" fmla="*/ 140410 h 141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84" h="141627">
                  <a:moveTo>
                    <a:pt x="84856" y="140410"/>
                  </a:moveTo>
                  <a:cubicBezTo>
                    <a:pt x="126852" y="133839"/>
                    <a:pt x="158278" y="98414"/>
                    <a:pt x="167135" y="62131"/>
                  </a:cubicBezTo>
                  <a:cubicBezTo>
                    <a:pt x="173134" y="38133"/>
                    <a:pt x="171134" y="4707"/>
                    <a:pt x="158564" y="422"/>
                  </a:cubicBezTo>
                  <a:cubicBezTo>
                    <a:pt x="145136" y="-4149"/>
                    <a:pt x="133423" y="29276"/>
                    <a:pt x="91427" y="60417"/>
                  </a:cubicBezTo>
                  <a:cubicBezTo>
                    <a:pt x="41716" y="97557"/>
                    <a:pt x="291" y="94128"/>
                    <a:pt x="5" y="109556"/>
                  </a:cubicBezTo>
                  <a:cubicBezTo>
                    <a:pt x="-566" y="125554"/>
                    <a:pt x="44002" y="146981"/>
                    <a:pt x="84856" y="14041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95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6820867" y="4211217"/>
              <a:ext cx="1041915" cy="174985"/>
              <a:chOff x="6820867" y="4211217"/>
              <a:chExt cx="1041915" cy="174985"/>
            </a:xfrm>
            <a:solidFill>
              <a:srgbClr val="61B521"/>
            </a:solidFill>
          </p:grpSpPr>
          <p:sp>
            <p:nvSpPr>
              <p:cNvPr id="1296" name="Freeform: Shape 1295">
                <a:extLst>
                  <a:ext uri="{FF2B5EF4-FFF2-40B4-BE49-F238E27FC236}">
                    <a16:creationId xmlns:a16="http://schemas.microsoft.com/office/drawing/2014/main" id="{8FD925BF-A9C1-4FAA-9E8F-8CCC6BD24D5B}"/>
                  </a:ext>
                </a:extLst>
              </p:cNvPr>
              <p:cNvSpPr/>
              <p:nvPr/>
            </p:nvSpPr>
            <p:spPr>
              <a:xfrm>
                <a:off x="7793645" y="4264356"/>
                <a:ext cx="69137" cy="50433"/>
              </a:xfrm>
              <a:custGeom>
                <a:avLst/>
                <a:gdLst>
                  <a:gd name="connsiteX0" fmla="*/ 69137 w 69137"/>
                  <a:gd name="connsiteY0" fmla="*/ 0 h 50433"/>
                  <a:gd name="connsiteX1" fmla="*/ 46282 w 69137"/>
                  <a:gd name="connsiteY1" fmla="*/ 46568 h 50433"/>
                  <a:gd name="connsiteX2" fmla="*/ 34569 w 69137"/>
                  <a:gd name="connsiteY2" fmla="*/ 47996 h 50433"/>
                  <a:gd name="connsiteX3" fmla="*/ 0 w 69137"/>
                  <a:gd name="connsiteY3" fmla="*/ 11142 h 50433"/>
                  <a:gd name="connsiteX4" fmla="*/ 69137 w 69137"/>
                  <a:gd name="connsiteY4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137" h="50433">
                    <a:moveTo>
                      <a:pt x="69137" y="0"/>
                    </a:moveTo>
                    <a:lnTo>
                      <a:pt x="46282" y="46568"/>
                    </a:lnTo>
                    <a:cubicBezTo>
                      <a:pt x="43996" y="51139"/>
                      <a:pt x="37997" y="51710"/>
                      <a:pt x="34569" y="47996"/>
                    </a:cubicBezTo>
                    <a:cubicBezTo>
                      <a:pt x="23141" y="35140"/>
                      <a:pt x="11713" y="23141"/>
                      <a:pt x="0" y="11142"/>
                    </a:cubicBezTo>
                    <a:cubicBezTo>
                      <a:pt x="23141" y="7142"/>
                      <a:pt x="45996" y="3143"/>
                      <a:pt x="69137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7" name="Freeform: Shape 1296">
                <a:extLst>
                  <a:ext uri="{FF2B5EF4-FFF2-40B4-BE49-F238E27FC236}">
                    <a16:creationId xmlns:a16="http://schemas.microsoft.com/office/drawing/2014/main" id="{EF0D5213-6499-40F5-BC1B-7C395DD383DF}"/>
                  </a:ext>
                </a:extLst>
              </p:cNvPr>
              <p:cNvSpPr/>
              <p:nvPr/>
            </p:nvSpPr>
            <p:spPr>
              <a:xfrm>
                <a:off x="7725936" y="4275498"/>
                <a:ext cx="67994" cy="48397"/>
              </a:xfrm>
              <a:custGeom>
                <a:avLst/>
                <a:gdLst>
                  <a:gd name="connsiteX0" fmla="*/ 67994 w 67994"/>
                  <a:gd name="connsiteY0" fmla="*/ 0 h 48397"/>
                  <a:gd name="connsiteX1" fmla="*/ 46282 w 67994"/>
                  <a:gd name="connsiteY1" fmla="*/ 44568 h 48397"/>
                  <a:gd name="connsiteX2" fmla="*/ 34569 w 67994"/>
                  <a:gd name="connsiteY2" fmla="*/ 46282 h 48397"/>
                  <a:gd name="connsiteX3" fmla="*/ 0 w 67994"/>
                  <a:gd name="connsiteY3" fmla="*/ 12856 h 48397"/>
                  <a:gd name="connsiteX4" fmla="*/ 67994 w 67994"/>
                  <a:gd name="connsiteY4" fmla="*/ 0 h 48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94" h="48397">
                    <a:moveTo>
                      <a:pt x="67994" y="0"/>
                    </a:moveTo>
                    <a:lnTo>
                      <a:pt x="46282" y="44568"/>
                    </a:lnTo>
                    <a:cubicBezTo>
                      <a:pt x="44282" y="48853"/>
                      <a:pt x="37997" y="49710"/>
                      <a:pt x="34569" y="46282"/>
                    </a:cubicBezTo>
                    <a:cubicBezTo>
                      <a:pt x="23141" y="34854"/>
                      <a:pt x="11428" y="23712"/>
                      <a:pt x="0" y="12856"/>
                    </a:cubicBezTo>
                    <a:lnTo>
                      <a:pt x="67994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8" name="Freeform: Shape 1297">
                <a:extLst>
                  <a:ext uri="{FF2B5EF4-FFF2-40B4-BE49-F238E27FC236}">
                    <a16:creationId xmlns:a16="http://schemas.microsoft.com/office/drawing/2014/main" id="{9CCF1764-A29E-4073-B63A-5FAB385A62D4}"/>
                  </a:ext>
                </a:extLst>
              </p:cNvPr>
              <p:cNvSpPr/>
              <p:nvPr/>
            </p:nvSpPr>
            <p:spPr>
              <a:xfrm>
                <a:off x="7657942" y="4288354"/>
                <a:ext cx="67708" cy="45618"/>
              </a:xfrm>
              <a:custGeom>
                <a:avLst/>
                <a:gdLst>
                  <a:gd name="connsiteX0" fmla="*/ 67709 w 67708"/>
                  <a:gd name="connsiteY0" fmla="*/ 0 h 45618"/>
                  <a:gd name="connsiteX1" fmla="*/ 45996 w 67708"/>
                  <a:gd name="connsiteY1" fmla="*/ 41997 h 45618"/>
                  <a:gd name="connsiteX2" fmla="*/ 34283 w 67708"/>
                  <a:gd name="connsiteY2" fmla="*/ 43711 h 45618"/>
                  <a:gd name="connsiteX3" fmla="*/ 0 w 67708"/>
                  <a:gd name="connsiteY3" fmla="*/ 13142 h 45618"/>
                  <a:gd name="connsiteX4" fmla="*/ 67709 w 67708"/>
                  <a:gd name="connsiteY4" fmla="*/ 0 h 45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45618">
                    <a:moveTo>
                      <a:pt x="67709" y="0"/>
                    </a:moveTo>
                    <a:cubicBezTo>
                      <a:pt x="60566" y="14285"/>
                      <a:pt x="53139" y="28283"/>
                      <a:pt x="45996" y="41997"/>
                    </a:cubicBezTo>
                    <a:cubicBezTo>
                      <a:pt x="43996" y="45996"/>
                      <a:pt x="37711" y="46853"/>
                      <a:pt x="34283" y="43711"/>
                    </a:cubicBezTo>
                    <a:cubicBezTo>
                      <a:pt x="22855" y="33140"/>
                      <a:pt x="11428" y="22855"/>
                      <a:pt x="0" y="13142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9" name="Freeform: Shape 1298">
                <a:extLst>
                  <a:ext uri="{FF2B5EF4-FFF2-40B4-BE49-F238E27FC236}">
                    <a16:creationId xmlns:a16="http://schemas.microsoft.com/office/drawing/2014/main" id="{F9A5A15C-C97E-42DB-A532-A4332989A669}"/>
                  </a:ext>
                </a:extLst>
              </p:cNvPr>
              <p:cNvSpPr/>
              <p:nvPr/>
            </p:nvSpPr>
            <p:spPr>
              <a:xfrm>
                <a:off x="7589947" y="4301495"/>
                <a:ext cx="67708" cy="42840"/>
              </a:xfrm>
              <a:custGeom>
                <a:avLst/>
                <a:gdLst>
                  <a:gd name="connsiteX0" fmla="*/ 67709 w 67708"/>
                  <a:gd name="connsiteY0" fmla="*/ 0 h 42840"/>
                  <a:gd name="connsiteX1" fmla="*/ 45425 w 67708"/>
                  <a:gd name="connsiteY1" fmla="*/ 39425 h 42840"/>
                  <a:gd name="connsiteX2" fmla="*/ 33712 w 67708"/>
                  <a:gd name="connsiteY2" fmla="*/ 41140 h 42840"/>
                  <a:gd name="connsiteX3" fmla="*/ 0 w 67708"/>
                  <a:gd name="connsiteY3" fmla="*/ 13142 h 42840"/>
                  <a:gd name="connsiteX4" fmla="*/ 67709 w 67708"/>
                  <a:gd name="connsiteY4" fmla="*/ 0 h 42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42840">
                    <a:moveTo>
                      <a:pt x="67709" y="0"/>
                    </a:moveTo>
                    <a:cubicBezTo>
                      <a:pt x="60281" y="13428"/>
                      <a:pt x="53139" y="26569"/>
                      <a:pt x="45425" y="39425"/>
                    </a:cubicBezTo>
                    <a:cubicBezTo>
                      <a:pt x="43139" y="43139"/>
                      <a:pt x="36854" y="43996"/>
                      <a:pt x="33712" y="41140"/>
                    </a:cubicBezTo>
                    <a:cubicBezTo>
                      <a:pt x="22284" y="31426"/>
                      <a:pt x="11142" y="22284"/>
                      <a:pt x="0" y="13142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0" name="Freeform: Shape 1299">
                <a:extLst>
                  <a:ext uri="{FF2B5EF4-FFF2-40B4-BE49-F238E27FC236}">
                    <a16:creationId xmlns:a16="http://schemas.microsoft.com/office/drawing/2014/main" id="{59DE5935-DD40-4505-BCEA-CB5F6DC68A03}"/>
                  </a:ext>
                </a:extLst>
              </p:cNvPr>
              <p:cNvSpPr/>
              <p:nvPr/>
            </p:nvSpPr>
            <p:spPr>
              <a:xfrm>
                <a:off x="7522239" y="4314923"/>
                <a:ext cx="67708" cy="39777"/>
              </a:xfrm>
              <a:custGeom>
                <a:avLst/>
                <a:gdLst>
                  <a:gd name="connsiteX0" fmla="*/ 67709 w 67708"/>
                  <a:gd name="connsiteY0" fmla="*/ 0 h 39777"/>
                  <a:gd name="connsiteX1" fmla="*/ 44854 w 67708"/>
                  <a:gd name="connsiteY1" fmla="*/ 36568 h 39777"/>
                  <a:gd name="connsiteX2" fmla="*/ 33140 w 67708"/>
                  <a:gd name="connsiteY2" fmla="*/ 38283 h 39777"/>
                  <a:gd name="connsiteX3" fmla="*/ 0 w 67708"/>
                  <a:gd name="connsiteY3" fmla="*/ 12856 h 39777"/>
                  <a:gd name="connsiteX4" fmla="*/ 67709 w 67708"/>
                  <a:gd name="connsiteY4" fmla="*/ 0 h 39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39777">
                    <a:moveTo>
                      <a:pt x="67709" y="0"/>
                    </a:moveTo>
                    <a:cubicBezTo>
                      <a:pt x="60281" y="12570"/>
                      <a:pt x="52567" y="24855"/>
                      <a:pt x="44854" y="36568"/>
                    </a:cubicBezTo>
                    <a:cubicBezTo>
                      <a:pt x="42568" y="39997"/>
                      <a:pt x="36283" y="40854"/>
                      <a:pt x="33140" y="38283"/>
                    </a:cubicBezTo>
                    <a:cubicBezTo>
                      <a:pt x="21998" y="29426"/>
                      <a:pt x="10856" y="20855"/>
                      <a:pt x="0" y="12856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1" name="Freeform: Shape 1300">
                <a:extLst>
                  <a:ext uri="{FF2B5EF4-FFF2-40B4-BE49-F238E27FC236}">
                    <a16:creationId xmlns:a16="http://schemas.microsoft.com/office/drawing/2014/main" id="{92BEDCCC-C997-4986-A442-A34249C1CCA5}"/>
                  </a:ext>
                </a:extLst>
              </p:cNvPr>
              <p:cNvSpPr/>
              <p:nvPr/>
            </p:nvSpPr>
            <p:spPr>
              <a:xfrm>
                <a:off x="7454530" y="4327493"/>
                <a:ext cx="67708" cy="36716"/>
              </a:xfrm>
              <a:custGeom>
                <a:avLst/>
                <a:gdLst>
                  <a:gd name="connsiteX0" fmla="*/ 67709 w 67708"/>
                  <a:gd name="connsiteY0" fmla="*/ 0 h 36716"/>
                  <a:gd name="connsiteX1" fmla="*/ 43996 w 67708"/>
                  <a:gd name="connsiteY1" fmla="*/ 33712 h 36716"/>
                  <a:gd name="connsiteX2" fmla="*/ 32283 w 67708"/>
                  <a:gd name="connsiteY2" fmla="*/ 35426 h 36716"/>
                  <a:gd name="connsiteX3" fmla="*/ 0 w 67708"/>
                  <a:gd name="connsiteY3" fmla="*/ 11999 h 36716"/>
                  <a:gd name="connsiteX4" fmla="*/ 67709 w 67708"/>
                  <a:gd name="connsiteY4" fmla="*/ 0 h 3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36716">
                    <a:moveTo>
                      <a:pt x="67709" y="0"/>
                    </a:moveTo>
                    <a:cubicBezTo>
                      <a:pt x="59995" y="11713"/>
                      <a:pt x="51996" y="22855"/>
                      <a:pt x="43996" y="33712"/>
                    </a:cubicBezTo>
                    <a:cubicBezTo>
                      <a:pt x="41711" y="36854"/>
                      <a:pt x="35426" y="37711"/>
                      <a:pt x="32283" y="35426"/>
                    </a:cubicBezTo>
                    <a:cubicBezTo>
                      <a:pt x="21427" y="27426"/>
                      <a:pt x="10571" y="19427"/>
                      <a:pt x="0" y="11999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2" name="Freeform: Shape 1301">
                <a:extLst>
                  <a:ext uri="{FF2B5EF4-FFF2-40B4-BE49-F238E27FC236}">
                    <a16:creationId xmlns:a16="http://schemas.microsoft.com/office/drawing/2014/main" id="{7F855E30-E5C4-4ED1-8D7E-B06125960BA3}"/>
                  </a:ext>
                </a:extLst>
              </p:cNvPr>
              <p:cNvSpPr/>
              <p:nvPr/>
            </p:nvSpPr>
            <p:spPr>
              <a:xfrm>
                <a:off x="7386535" y="4339492"/>
                <a:ext cx="67994" cy="33305"/>
              </a:xfrm>
              <a:custGeom>
                <a:avLst/>
                <a:gdLst>
                  <a:gd name="connsiteX0" fmla="*/ 67994 w 67994"/>
                  <a:gd name="connsiteY0" fmla="*/ 0 h 33305"/>
                  <a:gd name="connsiteX1" fmla="*/ 43425 w 67994"/>
                  <a:gd name="connsiteY1" fmla="*/ 30569 h 33305"/>
                  <a:gd name="connsiteX2" fmla="*/ 31426 w 67994"/>
                  <a:gd name="connsiteY2" fmla="*/ 31997 h 33305"/>
                  <a:gd name="connsiteX3" fmla="*/ 0 w 67994"/>
                  <a:gd name="connsiteY3" fmla="*/ 10571 h 33305"/>
                  <a:gd name="connsiteX4" fmla="*/ 67994 w 67994"/>
                  <a:gd name="connsiteY4" fmla="*/ 0 h 33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94" h="33305">
                    <a:moveTo>
                      <a:pt x="67994" y="0"/>
                    </a:moveTo>
                    <a:cubicBezTo>
                      <a:pt x="59995" y="10571"/>
                      <a:pt x="51710" y="20570"/>
                      <a:pt x="43425" y="30569"/>
                    </a:cubicBezTo>
                    <a:cubicBezTo>
                      <a:pt x="40854" y="33426"/>
                      <a:pt x="34569" y="34283"/>
                      <a:pt x="31426" y="31997"/>
                    </a:cubicBezTo>
                    <a:cubicBezTo>
                      <a:pt x="20855" y="24569"/>
                      <a:pt x="10285" y="17427"/>
                      <a:pt x="0" y="10571"/>
                    </a:cubicBezTo>
                    <a:cubicBezTo>
                      <a:pt x="22570" y="7142"/>
                      <a:pt x="45139" y="3714"/>
                      <a:pt x="67994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3" name="Freeform: Shape 1302">
                <a:extLst>
                  <a:ext uri="{FF2B5EF4-FFF2-40B4-BE49-F238E27FC236}">
                    <a16:creationId xmlns:a16="http://schemas.microsoft.com/office/drawing/2014/main" id="{D4BD755B-A697-4951-B0DB-867E658D85E8}"/>
                  </a:ext>
                </a:extLst>
              </p:cNvPr>
              <p:cNvSpPr/>
              <p:nvPr/>
            </p:nvSpPr>
            <p:spPr>
              <a:xfrm>
                <a:off x="7318255" y="4350063"/>
                <a:ext cx="68280" cy="29486"/>
              </a:xfrm>
              <a:custGeom>
                <a:avLst/>
                <a:gdLst>
                  <a:gd name="connsiteX0" fmla="*/ 68280 w 68280"/>
                  <a:gd name="connsiteY0" fmla="*/ 0 h 29486"/>
                  <a:gd name="connsiteX1" fmla="*/ 42568 w 68280"/>
                  <a:gd name="connsiteY1" fmla="*/ 27141 h 29486"/>
                  <a:gd name="connsiteX2" fmla="*/ 30569 w 68280"/>
                  <a:gd name="connsiteY2" fmla="*/ 28283 h 29486"/>
                  <a:gd name="connsiteX3" fmla="*/ 0 w 68280"/>
                  <a:gd name="connsiteY3" fmla="*/ 8856 h 29486"/>
                  <a:gd name="connsiteX4" fmla="*/ 68280 w 68280"/>
                  <a:gd name="connsiteY4" fmla="*/ 0 h 29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29486">
                    <a:moveTo>
                      <a:pt x="68280" y="0"/>
                    </a:moveTo>
                    <a:cubicBezTo>
                      <a:pt x="59995" y="9428"/>
                      <a:pt x="51424" y="18570"/>
                      <a:pt x="42568" y="27141"/>
                    </a:cubicBezTo>
                    <a:cubicBezTo>
                      <a:pt x="39997" y="29712"/>
                      <a:pt x="33712" y="30283"/>
                      <a:pt x="30569" y="28283"/>
                    </a:cubicBezTo>
                    <a:cubicBezTo>
                      <a:pt x="20284" y="21427"/>
                      <a:pt x="9999" y="15142"/>
                      <a:pt x="0" y="8856"/>
                    </a:cubicBezTo>
                    <a:cubicBezTo>
                      <a:pt x="22855" y="6285"/>
                      <a:pt x="45425" y="3143"/>
                      <a:pt x="68280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4" name="Freeform: Shape 1303">
                <a:extLst>
                  <a:ext uri="{FF2B5EF4-FFF2-40B4-BE49-F238E27FC236}">
                    <a16:creationId xmlns:a16="http://schemas.microsoft.com/office/drawing/2014/main" id="{BCE44172-5CB1-4731-8939-AEA56FA55894}"/>
                  </a:ext>
                </a:extLst>
              </p:cNvPr>
              <p:cNvSpPr/>
              <p:nvPr/>
            </p:nvSpPr>
            <p:spPr>
              <a:xfrm>
                <a:off x="7249975" y="4358919"/>
                <a:ext cx="68280" cy="25621"/>
              </a:xfrm>
              <a:custGeom>
                <a:avLst/>
                <a:gdLst>
                  <a:gd name="connsiteX0" fmla="*/ 68280 w 68280"/>
                  <a:gd name="connsiteY0" fmla="*/ 0 h 25621"/>
                  <a:gd name="connsiteX1" fmla="*/ 41711 w 68280"/>
                  <a:gd name="connsiteY1" fmla="*/ 23712 h 25621"/>
                  <a:gd name="connsiteX2" fmla="*/ 29712 w 68280"/>
                  <a:gd name="connsiteY2" fmla="*/ 24284 h 25621"/>
                  <a:gd name="connsiteX3" fmla="*/ 0 w 68280"/>
                  <a:gd name="connsiteY3" fmla="*/ 6285 h 25621"/>
                  <a:gd name="connsiteX4" fmla="*/ 68280 w 68280"/>
                  <a:gd name="connsiteY4" fmla="*/ 0 h 25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25621">
                    <a:moveTo>
                      <a:pt x="68280" y="0"/>
                    </a:moveTo>
                    <a:cubicBezTo>
                      <a:pt x="59424" y="8285"/>
                      <a:pt x="50567" y="16284"/>
                      <a:pt x="41711" y="23712"/>
                    </a:cubicBezTo>
                    <a:cubicBezTo>
                      <a:pt x="39140" y="25998"/>
                      <a:pt x="32569" y="26284"/>
                      <a:pt x="29712" y="24284"/>
                    </a:cubicBezTo>
                    <a:lnTo>
                      <a:pt x="0" y="6285"/>
                    </a:lnTo>
                    <a:cubicBezTo>
                      <a:pt x="22570" y="4571"/>
                      <a:pt x="45425" y="2285"/>
                      <a:pt x="68280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5" name="Freeform: Shape 1304">
                <a:extLst>
                  <a:ext uri="{FF2B5EF4-FFF2-40B4-BE49-F238E27FC236}">
                    <a16:creationId xmlns:a16="http://schemas.microsoft.com/office/drawing/2014/main" id="{E1E43E2B-13D6-458D-9554-0B339DD1ADBF}"/>
                  </a:ext>
                </a:extLst>
              </p:cNvPr>
              <p:cNvSpPr/>
              <p:nvPr/>
            </p:nvSpPr>
            <p:spPr>
              <a:xfrm>
                <a:off x="7181695" y="4365205"/>
                <a:ext cx="68280" cy="20998"/>
              </a:xfrm>
              <a:custGeom>
                <a:avLst/>
                <a:gdLst>
                  <a:gd name="connsiteX0" fmla="*/ 68280 w 68280"/>
                  <a:gd name="connsiteY0" fmla="*/ 0 h 20998"/>
                  <a:gd name="connsiteX1" fmla="*/ 40568 w 68280"/>
                  <a:gd name="connsiteY1" fmla="*/ 19713 h 20998"/>
                  <a:gd name="connsiteX2" fmla="*/ 28569 w 68280"/>
                  <a:gd name="connsiteY2" fmla="*/ 19713 h 20998"/>
                  <a:gd name="connsiteX3" fmla="*/ 0 w 68280"/>
                  <a:gd name="connsiteY3" fmla="*/ 3143 h 20998"/>
                  <a:gd name="connsiteX4" fmla="*/ 68280 w 68280"/>
                  <a:gd name="connsiteY4" fmla="*/ 0 h 20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20998">
                    <a:moveTo>
                      <a:pt x="68280" y="0"/>
                    </a:moveTo>
                    <a:cubicBezTo>
                      <a:pt x="59138" y="7142"/>
                      <a:pt x="49996" y="13713"/>
                      <a:pt x="40568" y="19713"/>
                    </a:cubicBezTo>
                    <a:cubicBezTo>
                      <a:pt x="37711" y="21427"/>
                      <a:pt x="31426" y="21427"/>
                      <a:pt x="28569" y="19713"/>
                    </a:cubicBezTo>
                    <a:cubicBezTo>
                      <a:pt x="18856" y="13999"/>
                      <a:pt x="9428" y="8285"/>
                      <a:pt x="0" y="3143"/>
                    </a:cubicBezTo>
                    <a:cubicBezTo>
                      <a:pt x="22570" y="2571"/>
                      <a:pt x="45425" y="1714"/>
                      <a:pt x="68280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6" name="Freeform: Shape 1305">
                <a:extLst>
                  <a:ext uri="{FF2B5EF4-FFF2-40B4-BE49-F238E27FC236}">
                    <a16:creationId xmlns:a16="http://schemas.microsoft.com/office/drawing/2014/main" id="{832AF13F-E9A6-4573-90E9-22DFE640A2D7}"/>
                  </a:ext>
                </a:extLst>
              </p:cNvPr>
              <p:cNvSpPr/>
              <p:nvPr/>
            </p:nvSpPr>
            <p:spPr>
              <a:xfrm>
                <a:off x="7113129" y="4366347"/>
                <a:ext cx="68280" cy="17951"/>
              </a:xfrm>
              <a:custGeom>
                <a:avLst/>
                <a:gdLst>
                  <a:gd name="connsiteX0" fmla="*/ 68280 w 68280"/>
                  <a:gd name="connsiteY0" fmla="*/ 2000 h 17951"/>
                  <a:gd name="connsiteX1" fmla="*/ 39425 w 68280"/>
                  <a:gd name="connsiteY1" fmla="*/ 17142 h 17951"/>
                  <a:gd name="connsiteX2" fmla="*/ 27426 w 68280"/>
                  <a:gd name="connsiteY2" fmla="*/ 16284 h 17951"/>
                  <a:gd name="connsiteX3" fmla="*/ 0 w 68280"/>
                  <a:gd name="connsiteY3" fmla="*/ 0 h 17951"/>
                  <a:gd name="connsiteX4" fmla="*/ 68280 w 68280"/>
                  <a:gd name="connsiteY4" fmla="*/ 2000 h 17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17951">
                    <a:moveTo>
                      <a:pt x="68280" y="2000"/>
                    </a:moveTo>
                    <a:cubicBezTo>
                      <a:pt x="58852" y="7714"/>
                      <a:pt x="49139" y="12570"/>
                      <a:pt x="39425" y="17142"/>
                    </a:cubicBezTo>
                    <a:cubicBezTo>
                      <a:pt x="36568" y="18570"/>
                      <a:pt x="30283" y="17999"/>
                      <a:pt x="27426" y="16284"/>
                    </a:cubicBezTo>
                    <a:lnTo>
                      <a:pt x="0" y="0"/>
                    </a:lnTo>
                    <a:cubicBezTo>
                      <a:pt x="22570" y="2000"/>
                      <a:pt x="45425" y="2286"/>
                      <a:pt x="68280" y="200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7" name="Freeform: Shape 1306">
                <a:extLst>
                  <a:ext uri="{FF2B5EF4-FFF2-40B4-BE49-F238E27FC236}">
                    <a16:creationId xmlns:a16="http://schemas.microsoft.com/office/drawing/2014/main" id="{7FB27417-951A-4695-81AD-8D2E953A9EC4}"/>
                  </a:ext>
                </a:extLst>
              </p:cNvPr>
              <p:cNvSpPr/>
              <p:nvPr/>
            </p:nvSpPr>
            <p:spPr>
              <a:xfrm>
                <a:off x="7045420" y="4357491"/>
                <a:ext cx="67708" cy="19147"/>
              </a:xfrm>
              <a:custGeom>
                <a:avLst/>
                <a:gdLst>
                  <a:gd name="connsiteX0" fmla="*/ 67709 w 67708"/>
                  <a:gd name="connsiteY0" fmla="*/ 9142 h 19147"/>
                  <a:gd name="connsiteX1" fmla="*/ 37711 w 67708"/>
                  <a:gd name="connsiteY1" fmla="*/ 18856 h 19147"/>
                  <a:gd name="connsiteX2" fmla="*/ 25712 w 67708"/>
                  <a:gd name="connsiteY2" fmla="*/ 16856 h 19147"/>
                  <a:gd name="connsiteX3" fmla="*/ 0 w 67708"/>
                  <a:gd name="connsiteY3" fmla="*/ 0 h 19147"/>
                  <a:gd name="connsiteX4" fmla="*/ 16856 w 67708"/>
                  <a:gd name="connsiteY4" fmla="*/ 3143 h 19147"/>
                  <a:gd name="connsiteX5" fmla="*/ 33712 w 67708"/>
                  <a:gd name="connsiteY5" fmla="*/ 5714 h 19147"/>
                  <a:gd name="connsiteX6" fmla="*/ 67709 w 67708"/>
                  <a:gd name="connsiteY6" fmla="*/ 9142 h 19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708" h="19147">
                    <a:moveTo>
                      <a:pt x="67709" y="9142"/>
                    </a:moveTo>
                    <a:cubicBezTo>
                      <a:pt x="57995" y="13142"/>
                      <a:pt x="47996" y="16284"/>
                      <a:pt x="37711" y="18856"/>
                    </a:cubicBezTo>
                    <a:cubicBezTo>
                      <a:pt x="34854" y="19713"/>
                      <a:pt x="28283" y="18570"/>
                      <a:pt x="25712" y="16856"/>
                    </a:cubicBezTo>
                    <a:cubicBezTo>
                      <a:pt x="16856" y="10856"/>
                      <a:pt x="8285" y="5714"/>
                      <a:pt x="0" y="0"/>
                    </a:cubicBezTo>
                    <a:cubicBezTo>
                      <a:pt x="5428" y="1429"/>
                      <a:pt x="11142" y="2286"/>
                      <a:pt x="16856" y="3143"/>
                    </a:cubicBezTo>
                    <a:cubicBezTo>
                      <a:pt x="22570" y="4000"/>
                      <a:pt x="27998" y="5142"/>
                      <a:pt x="33712" y="5714"/>
                    </a:cubicBezTo>
                    <a:cubicBezTo>
                      <a:pt x="44854" y="7142"/>
                      <a:pt x="56281" y="8285"/>
                      <a:pt x="67709" y="9142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8" name="Freeform: Shape 1307">
                <a:extLst>
                  <a:ext uri="{FF2B5EF4-FFF2-40B4-BE49-F238E27FC236}">
                    <a16:creationId xmlns:a16="http://schemas.microsoft.com/office/drawing/2014/main" id="{2A77741F-E86A-47DF-9138-A71D6A09E9CA}"/>
                  </a:ext>
                </a:extLst>
              </p:cNvPr>
              <p:cNvSpPr/>
              <p:nvPr/>
            </p:nvSpPr>
            <p:spPr>
              <a:xfrm>
                <a:off x="6980854" y="4336635"/>
                <a:ext cx="64566" cy="23195"/>
              </a:xfrm>
              <a:custGeom>
                <a:avLst/>
                <a:gdLst>
                  <a:gd name="connsiteX0" fmla="*/ 64566 w 64566"/>
                  <a:gd name="connsiteY0" fmla="*/ 20855 h 23195"/>
                  <a:gd name="connsiteX1" fmla="*/ 34283 w 64566"/>
                  <a:gd name="connsiteY1" fmla="*/ 23141 h 23195"/>
                  <a:gd name="connsiteX2" fmla="*/ 22855 w 64566"/>
                  <a:gd name="connsiteY2" fmla="*/ 19141 h 23195"/>
                  <a:gd name="connsiteX3" fmla="*/ 0 w 64566"/>
                  <a:gd name="connsiteY3" fmla="*/ 0 h 23195"/>
                  <a:gd name="connsiteX4" fmla="*/ 15713 w 64566"/>
                  <a:gd name="connsiteY4" fmla="*/ 6571 h 23195"/>
                  <a:gd name="connsiteX5" fmla="*/ 31712 w 64566"/>
                  <a:gd name="connsiteY5" fmla="*/ 12285 h 23195"/>
                  <a:gd name="connsiteX6" fmla="*/ 64566 w 64566"/>
                  <a:gd name="connsiteY6" fmla="*/ 20855 h 23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66" h="23195">
                    <a:moveTo>
                      <a:pt x="64566" y="20855"/>
                    </a:moveTo>
                    <a:cubicBezTo>
                      <a:pt x="54567" y="22570"/>
                      <a:pt x="44568" y="23427"/>
                      <a:pt x="34283" y="23141"/>
                    </a:cubicBezTo>
                    <a:cubicBezTo>
                      <a:pt x="31426" y="23141"/>
                      <a:pt x="25141" y="21141"/>
                      <a:pt x="22855" y="19141"/>
                    </a:cubicBezTo>
                    <a:cubicBezTo>
                      <a:pt x="14856" y="12570"/>
                      <a:pt x="7428" y="6571"/>
                      <a:pt x="0" y="0"/>
                    </a:cubicBezTo>
                    <a:cubicBezTo>
                      <a:pt x="5142" y="2286"/>
                      <a:pt x="10571" y="4857"/>
                      <a:pt x="15713" y="6571"/>
                    </a:cubicBezTo>
                    <a:cubicBezTo>
                      <a:pt x="21141" y="8571"/>
                      <a:pt x="26284" y="10571"/>
                      <a:pt x="31712" y="12285"/>
                    </a:cubicBezTo>
                    <a:cubicBezTo>
                      <a:pt x="42568" y="15713"/>
                      <a:pt x="53424" y="18570"/>
                      <a:pt x="64566" y="20855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9" name="Freeform: Shape 1308">
                <a:extLst>
                  <a:ext uri="{FF2B5EF4-FFF2-40B4-BE49-F238E27FC236}">
                    <a16:creationId xmlns:a16="http://schemas.microsoft.com/office/drawing/2014/main" id="{6C7F5BC4-94B6-4726-904A-AB87C19F0695}"/>
                  </a:ext>
                </a:extLst>
              </p:cNvPr>
              <p:cNvSpPr/>
              <p:nvPr/>
            </p:nvSpPr>
            <p:spPr>
              <a:xfrm>
                <a:off x="6920002" y="4305210"/>
                <a:ext cx="60852" cy="31425"/>
              </a:xfrm>
              <a:custGeom>
                <a:avLst/>
                <a:gdLst>
                  <a:gd name="connsiteX0" fmla="*/ 60852 w 60852"/>
                  <a:gd name="connsiteY0" fmla="*/ 31426 h 31425"/>
                  <a:gd name="connsiteX1" fmla="*/ 31712 w 60852"/>
                  <a:gd name="connsiteY1" fmla="*/ 25712 h 31425"/>
                  <a:gd name="connsiteX2" fmla="*/ 21427 w 60852"/>
                  <a:gd name="connsiteY2" fmla="*/ 19713 h 31425"/>
                  <a:gd name="connsiteX3" fmla="*/ 0 w 60852"/>
                  <a:gd name="connsiteY3" fmla="*/ 0 h 31425"/>
                  <a:gd name="connsiteX4" fmla="*/ 29998 w 60852"/>
                  <a:gd name="connsiteY4" fmla="*/ 16856 h 31425"/>
                  <a:gd name="connsiteX5" fmla="*/ 60852 w 60852"/>
                  <a:gd name="connsiteY5" fmla="*/ 31426 h 31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852" h="31425">
                    <a:moveTo>
                      <a:pt x="60852" y="31426"/>
                    </a:moveTo>
                    <a:cubicBezTo>
                      <a:pt x="50853" y="30283"/>
                      <a:pt x="41425" y="27998"/>
                      <a:pt x="31712" y="25712"/>
                    </a:cubicBezTo>
                    <a:cubicBezTo>
                      <a:pt x="28855" y="24855"/>
                      <a:pt x="23427" y="21712"/>
                      <a:pt x="21427" y="19713"/>
                    </a:cubicBezTo>
                    <a:lnTo>
                      <a:pt x="0" y="0"/>
                    </a:lnTo>
                    <a:cubicBezTo>
                      <a:pt x="9714" y="5999"/>
                      <a:pt x="19713" y="11713"/>
                      <a:pt x="29998" y="16856"/>
                    </a:cubicBezTo>
                    <a:cubicBezTo>
                      <a:pt x="39997" y="21998"/>
                      <a:pt x="50282" y="26855"/>
                      <a:pt x="60852" y="31426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0" name="Freeform: Shape 1309">
                <a:extLst>
                  <a:ext uri="{FF2B5EF4-FFF2-40B4-BE49-F238E27FC236}">
                    <a16:creationId xmlns:a16="http://schemas.microsoft.com/office/drawing/2014/main" id="{BA31BF7F-341B-4EF9-81D7-4CE944EB46F9}"/>
                  </a:ext>
                </a:extLst>
              </p:cNvPr>
              <p:cNvSpPr/>
              <p:nvPr/>
            </p:nvSpPr>
            <p:spPr>
              <a:xfrm>
                <a:off x="6864863" y="4264070"/>
                <a:ext cx="55138" cy="41139"/>
              </a:xfrm>
              <a:custGeom>
                <a:avLst/>
                <a:gdLst>
                  <a:gd name="connsiteX0" fmla="*/ 55138 w 55138"/>
                  <a:gd name="connsiteY0" fmla="*/ 41139 h 41139"/>
                  <a:gd name="connsiteX1" fmla="*/ 28855 w 55138"/>
                  <a:gd name="connsiteY1" fmla="*/ 28855 h 41139"/>
                  <a:gd name="connsiteX2" fmla="*/ 19427 w 55138"/>
                  <a:gd name="connsiteY2" fmla="*/ 21427 h 41139"/>
                  <a:gd name="connsiteX3" fmla="*/ 0 w 55138"/>
                  <a:gd name="connsiteY3" fmla="*/ 0 h 41139"/>
                  <a:gd name="connsiteX4" fmla="*/ 26569 w 55138"/>
                  <a:gd name="connsiteY4" fmla="*/ 21712 h 41139"/>
                  <a:gd name="connsiteX5" fmla="*/ 55138 w 55138"/>
                  <a:gd name="connsiteY5" fmla="*/ 41139 h 4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138" h="41139">
                    <a:moveTo>
                      <a:pt x="55138" y="41139"/>
                    </a:moveTo>
                    <a:cubicBezTo>
                      <a:pt x="45996" y="37711"/>
                      <a:pt x="37140" y="33712"/>
                      <a:pt x="28855" y="28855"/>
                    </a:cubicBezTo>
                    <a:cubicBezTo>
                      <a:pt x="26284" y="27426"/>
                      <a:pt x="21427" y="23427"/>
                      <a:pt x="19427" y="21427"/>
                    </a:cubicBezTo>
                    <a:cubicBezTo>
                      <a:pt x="12856" y="14285"/>
                      <a:pt x="6285" y="7142"/>
                      <a:pt x="0" y="0"/>
                    </a:cubicBezTo>
                    <a:cubicBezTo>
                      <a:pt x="8285" y="7714"/>
                      <a:pt x="17427" y="15142"/>
                      <a:pt x="26569" y="21712"/>
                    </a:cubicBezTo>
                    <a:cubicBezTo>
                      <a:pt x="35711" y="28569"/>
                      <a:pt x="45139" y="35140"/>
                      <a:pt x="55138" y="41139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1" name="Freeform: Shape 1310">
                <a:extLst>
                  <a:ext uri="{FF2B5EF4-FFF2-40B4-BE49-F238E27FC236}">
                    <a16:creationId xmlns:a16="http://schemas.microsoft.com/office/drawing/2014/main" id="{EF555EA4-E346-4888-AF0A-86A377FCA3DA}"/>
                  </a:ext>
                </a:extLst>
              </p:cNvPr>
              <p:cNvSpPr/>
              <p:nvPr/>
            </p:nvSpPr>
            <p:spPr>
              <a:xfrm>
                <a:off x="6820867" y="4211217"/>
                <a:ext cx="43996" cy="52852"/>
              </a:xfrm>
              <a:custGeom>
                <a:avLst/>
                <a:gdLst>
                  <a:gd name="connsiteX0" fmla="*/ 43996 w 43996"/>
                  <a:gd name="connsiteY0" fmla="*/ 52853 h 52852"/>
                  <a:gd name="connsiteX1" fmla="*/ 22855 w 43996"/>
                  <a:gd name="connsiteY1" fmla="*/ 33712 h 52852"/>
                  <a:gd name="connsiteX2" fmla="*/ 15427 w 43996"/>
                  <a:gd name="connsiteY2" fmla="*/ 24284 h 52852"/>
                  <a:gd name="connsiteX3" fmla="*/ 0 w 43996"/>
                  <a:gd name="connsiteY3" fmla="*/ 0 h 52852"/>
                  <a:gd name="connsiteX4" fmla="*/ 43996 w 43996"/>
                  <a:gd name="connsiteY4" fmla="*/ 52853 h 5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996" h="52852">
                    <a:moveTo>
                      <a:pt x="43996" y="52853"/>
                    </a:moveTo>
                    <a:cubicBezTo>
                      <a:pt x="36283" y="47139"/>
                      <a:pt x="29140" y="40568"/>
                      <a:pt x="22855" y="33712"/>
                    </a:cubicBezTo>
                    <a:cubicBezTo>
                      <a:pt x="20855" y="31712"/>
                      <a:pt x="17141" y="26569"/>
                      <a:pt x="15427" y="24284"/>
                    </a:cubicBezTo>
                    <a:cubicBezTo>
                      <a:pt x="10285" y="16284"/>
                      <a:pt x="4857" y="8285"/>
                      <a:pt x="0" y="0"/>
                    </a:cubicBezTo>
                    <a:cubicBezTo>
                      <a:pt x="11999" y="19998"/>
                      <a:pt x="27141" y="37426"/>
                      <a:pt x="43996" y="52853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45E62A3D-2329-426F-96E4-9927326C22A1}"/>
                </a:ext>
              </a:extLst>
            </p:cNvPr>
            <p:cNvSpPr/>
            <p:nvPr/>
          </p:nvSpPr>
          <p:spPr>
            <a:xfrm>
              <a:off x="6781381" y="3102004"/>
              <a:ext cx="3780722" cy="2790833"/>
            </a:xfrm>
            <a:custGeom>
              <a:avLst/>
              <a:gdLst>
                <a:gd name="connsiteX0" fmla="*/ 61 w 3780722"/>
                <a:gd name="connsiteY0" fmla="*/ 1032363 h 2790833"/>
                <a:gd name="connsiteX1" fmla="*/ 117765 w 3780722"/>
                <a:gd name="connsiteY1" fmla="*/ 554401 h 2790833"/>
                <a:gd name="connsiteX2" fmla="*/ 548588 w 3780722"/>
                <a:gd name="connsiteY2" fmla="*/ 330705 h 2790833"/>
                <a:gd name="connsiteX3" fmla="*/ 795996 w 3780722"/>
                <a:gd name="connsiteY3" fmla="*/ 175289 h 2790833"/>
                <a:gd name="connsiteX4" fmla="*/ 920843 w 3780722"/>
                <a:gd name="connsiteY4" fmla="*/ 306422 h 2790833"/>
                <a:gd name="connsiteX5" fmla="*/ 1015978 w 3780722"/>
                <a:gd name="connsiteY5" fmla="*/ 340705 h 2790833"/>
                <a:gd name="connsiteX6" fmla="*/ 1613930 w 3780722"/>
                <a:gd name="connsiteY6" fmla="*/ 24730 h 2790833"/>
                <a:gd name="connsiteX7" fmla="*/ 2976962 w 3780722"/>
                <a:gd name="connsiteY7" fmla="*/ 342704 h 2790833"/>
                <a:gd name="connsiteX8" fmla="*/ 3608340 w 3780722"/>
                <a:gd name="connsiteY8" fmla="*/ 1244346 h 2790833"/>
                <a:gd name="connsiteX9" fmla="*/ 3775469 w 3780722"/>
                <a:gd name="connsiteY9" fmla="*/ 2199411 h 2790833"/>
                <a:gd name="connsiteX10" fmla="*/ 3019245 w 3780722"/>
                <a:gd name="connsiteY10" fmla="*/ 2784221 h 2790833"/>
                <a:gd name="connsiteX11" fmla="*/ 2596707 w 3780722"/>
                <a:gd name="connsiteY11" fmla="*/ 2215981 h 2790833"/>
                <a:gd name="connsiteX12" fmla="*/ 3177803 w 3780722"/>
                <a:gd name="connsiteY12" fmla="*/ 2048280 h 2790833"/>
                <a:gd name="connsiteX13" fmla="*/ 3272938 w 3780722"/>
                <a:gd name="connsiteY13" fmla="*/ 2461390 h 2790833"/>
                <a:gd name="connsiteX14" fmla="*/ 2880399 w 3780722"/>
                <a:gd name="connsiteY14" fmla="*/ 2534241 h 2790833"/>
                <a:gd name="connsiteX15" fmla="*/ 2846973 w 3780722"/>
                <a:gd name="connsiteY15" fmla="*/ 2235979 h 2790833"/>
                <a:gd name="connsiteX16" fmla="*/ 3131235 w 3780722"/>
                <a:gd name="connsiteY16" fmla="*/ 2285118 h 2790833"/>
                <a:gd name="connsiteX17" fmla="*/ 3052956 w 3780722"/>
                <a:gd name="connsiteY17" fmla="*/ 2453105 h 2790833"/>
                <a:gd name="connsiteX18" fmla="*/ 2942965 w 3780722"/>
                <a:gd name="connsiteY18" fmla="*/ 2385110 h 2790833"/>
                <a:gd name="connsiteX19" fmla="*/ 3002103 w 3780722"/>
                <a:gd name="connsiteY19" fmla="*/ 2388539 h 2790833"/>
                <a:gd name="connsiteX20" fmla="*/ 3056956 w 3780722"/>
                <a:gd name="connsiteY20" fmla="*/ 2338257 h 2790833"/>
                <a:gd name="connsiteX21" fmla="*/ 2962392 w 3780722"/>
                <a:gd name="connsiteY21" fmla="*/ 2282547 h 2790833"/>
                <a:gd name="connsiteX22" fmla="*/ 2874113 w 3780722"/>
                <a:gd name="connsiteY22" fmla="*/ 2411679 h 2790833"/>
                <a:gd name="connsiteX23" fmla="*/ 3051813 w 3780722"/>
                <a:gd name="connsiteY23" fmla="*/ 2489388 h 2790833"/>
                <a:gd name="connsiteX24" fmla="*/ 3184946 w 3780722"/>
                <a:gd name="connsiteY24" fmla="*/ 2307117 h 2790833"/>
                <a:gd name="connsiteX25" fmla="*/ 2976677 w 3780722"/>
                <a:gd name="connsiteY25" fmla="*/ 2125703 h 2790833"/>
                <a:gd name="connsiteX26" fmla="*/ 2753837 w 3780722"/>
                <a:gd name="connsiteY26" fmla="*/ 2289118 h 2790833"/>
                <a:gd name="connsiteX27" fmla="*/ 3117808 w 3780722"/>
                <a:gd name="connsiteY27" fmla="*/ 2592522 h 2790833"/>
                <a:gd name="connsiteX28" fmla="*/ 3495206 w 3780722"/>
                <a:gd name="connsiteY28" fmla="*/ 2255121 h 2790833"/>
                <a:gd name="connsiteX29" fmla="*/ 3325505 w 3780722"/>
                <a:gd name="connsiteY29" fmla="*/ 1538036 h 2790833"/>
                <a:gd name="connsiteX30" fmla="*/ 2605564 w 3780722"/>
                <a:gd name="connsiteY30" fmla="*/ 1139211 h 2790833"/>
                <a:gd name="connsiteX31" fmla="*/ 2453005 w 3780722"/>
                <a:gd name="connsiteY31" fmla="*/ 1137211 h 2790833"/>
                <a:gd name="connsiteX32" fmla="*/ 1647070 w 3780722"/>
                <a:gd name="connsiteY32" fmla="*/ 1041219 h 2790833"/>
                <a:gd name="connsiteX33" fmla="*/ 1064546 w 3780722"/>
                <a:gd name="connsiteY33" fmla="*/ 1179494 h 2790833"/>
                <a:gd name="connsiteX34" fmla="*/ 187760 w 3780722"/>
                <a:gd name="connsiteY34" fmla="*/ 1234632 h 2790833"/>
                <a:gd name="connsiteX35" fmla="*/ 61 w 3780722"/>
                <a:gd name="connsiteY35" fmla="*/ 1032363 h 2790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780722" h="2790833">
                  <a:moveTo>
                    <a:pt x="61" y="1032363"/>
                  </a:moveTo>
                  <a:cubicBezTo>
                    <a:pt x="61" y="1032363"/>
                    <a:pt x="32058" y="607826"/>
                    <a:pt x="117765" y="554401"/>
                  </a:cubicBezTo>
                  <a:cubicBezTo>
                    <a:pt x="203473" y="500692"/>
                    <a:pt x="482022" y="373273"/>
                    <a:pt x="548588" y="330705"/>
                  </a:cubicBezTo>
                  <a:cubicBezTo>
                    <a:pt x="615154" y="287852"/>
                    <a:pt x="682005" y="156719"/>
                    <a:pt x="795996" y="175289"/>
                  </a:cubicBezTo>
                  <a:cubicBezTo>
                    <a:pt x="909987" y="193859"/>
                    <a:pt x="890560" y="293280"/>
                    <a:pt x="920843" y="306422"/>
                  </a:cubicBezTo>
                  <a:cubicBezTo>
                    <a:pt x="951126" y="319563"/>
                    <a:pt x="929128" y="369845"/>
                    <a:pt x="1015978" y="340705"/>
                  </a:cubicBezTo>
                  <a:cubicBezTo>
                    <a:pt x="1102828" y="311564"/>
                    <a:pt x="1312240" y="84440"/>
                    <a:pt x="1613930" y="24730"/>
                  </a:cubicBezTo>
                  <a:cubicBezTo>
                    <a:pt x="1915620" y="-34979"/>
                    <a:pt x="2521285" y="-7267"/>
                    <a:pt x="2976962" y="342704"/>
                  </a:cubicBezTo>
                  <a:cubicBezTo>
                    <a:pt x="3432640" y="692676"/>
                    <a:pt x="3608340" y="1244346"/>
                    <a:pt x="3608340" y="1244346"/>
                  </a:cubicBezTo>
                  <a:cubicBezTo>
                    <a:pt x="3608340" y="1244346"/>
                    <a:pt x="3816037" y="1838297"/>
                    <a:pt x="3775469" y="2199411"/>
                  </a:cubicBezTo>
                  <a:cubicBezTo>
                    <a:pt x="3734901" y="2560525"/>
                    <a:pt x="3316935" y="2837645"/>
                    <a:pt x="3019245" y="2784221"/>
                  </a:cubicBezTo>
                  <a:cubicBezTo>
                    <a:pt x="2721554" y="2730796"/>
                    <a:pt x="2470718" y="2438820"/>
                    <a:pt x="2596707" y="2215981"/>
                  </a:cubicBezTo>
                  <a:cubicBezTo>
                    <a:pt x="2722697" y="1993142"/>
                    <a:pt x="3012959" y="1899435"/>
                    <a:pt x="3177803" y="2048280"/>
                  </a:cubicBezTo>
                  <a:cubicBezTo>
                    <a:pt x="3342647" y="2197125"/>
                    <a:pt x="3333505" y="2366255"/>
                    <a:pt x="3272938" y="2461390"/>
                  </a:cubicBezTo>
                  <a:cubicBezTo>
                    <a:pt x="3212372" y="2556239"/>
                    <a:pt x="3028387" y="2642804"/>
                    <a:pt x="2880399" y="2534241"/>
                  </a:cubicBezTo>
                  <a:cubicBezTo>
                    <a:pt x="2732411" y="2425393"/>
                    <a:pt x="2748695" y="2300260"/>
                    <a:pt x="2846973" y="2235979"/>
                  </a:cubicBezTo>
                  <a:cubicBezTo>
                    <a:pt x="2945250" y="2171985"/>
                    <a:pt x="3088096" y="2180841"/>
                    <a:pt x="3131235" y="2285118"/>
                  </a:cubicBezTo>
                  <a:cubicBezTo>
                    <a:pt x="3174375" y="2389396"/>
                    <a:pt x="3120094" y="2451105"/>
                    <a:pt x="3052956" y="2453105"/>
                  </a:cubicBezTo>
                  <a:cubicBezTo>
                    <a:pt x="2985819" y="2454819"/>
                    <a:pt x="2932966" y="2411679"/>
                    <a:pt x="2942965" y="2385110"/>
                  </a:cubicBezTo>
                  <a:cubicBezTo>
                    <a:pt x="2952964" y="2358255"/>
                    <a:pt x="2975820" y="2386824"/>
                    <a:pt x="3002103" y="2388539"/>
                  </a:cubicBezTo>
                  <a:cubicBezTo>
                    <a:pt x="3028387" y="2390538"/>
                    <a:pt x="3072097" y="2379968"/>
                    <a:pt x="3056956" y="2338257"/>
                  </a:cubicBezTo>
                  <a:cubicBezTo>
                    <a:pt x="3041814" y="2296546"/>
                    <a:pt x="3001532" y="2280547"/>
                    <a:pt x="2962392" y="2282547"/>
                  </a:cubicBezTo>
                  <a:cubicBezTo>
                    <a:pt x="2923252" y="2284547"/>
                    <a:pt x="2834117" y="2338257"/>
                    <a:pt x="2874113" y="2411679"/>
                  </a:cubicBezTo>
                  <a:cubicBezTo>
                    <a:pt x="2913824" y="2485102"/>
                    <a:pt x="2992104" y="2510529"/>
                    <a:pt x="3051813" y="2489388"/>
                  </a:cubicBezTo>
                  <a:cubicBezTo>
                    <a:pt x="3111237" y="2468246"/>
                    <a:pt x="3196944" y="2444248"/>
                    <a:pt x="3184946" y="2307117"/>
                  </a:cubicBezTo>
                  <a:cubicBezTo>
                    <a:pt x="3172946" y="2169985"/>
                    <a:pt x="3047814" y="2123703"/>
                    <a:pt x="2976677" y="2125703"/>
                  </a:cubicBezTo>
                  <a:cubicBezTo>
                    <a:pt x="2906397" y="2127702"/>
                    <a:pt x="2791549" y="2134845"/>
                    <a:pt x="2753837" y="2289118"/>
                  </a:cubicBezTo>
                  <a:cubicBezTo>
                    <a:pt x="2715841" y="2443391"/>
                    <a:pt x="2903254" y="2624805"/>
                    <a:pt x="3117808" y="2592522"/>
                  </a:cubicBezTo>
                  <a:cubicBezTo>
                    <a:pt x="3332362" y="2560239"/>
                    <a:pt x="3471779" y="2436535"/>
                    <a:pt x="3495206" y="2255121"/>
                  </a:cubicBezTo>
                  <a:cubicBezTo>
                    <a:pt x="3518633" y="2073707"/>
                    <a:pt x="3481207" y="1700309"/>
                    <a:pt x="3325505" y="1538036"/>
                  </a:cubicBezTo>
                  <a:cubicBezTo>
                    <a:pt x="3325505" y="1538036"/>
                    <a:pt x="2760123" y="1372335"/>
                    <a:pt x="2605564" y="1139211"/>
                  </a:cubicBezTo>
                  <a:cubicBezTo>
                    <a:pt x="2605564" y="1139211"/>
                    <a:pt x="2616706" y="1069788"/>
                    <a:pt x="2453005" y="1137211"/>
                  </a:cubicBezTo>
                  <a:cubicBezTo>
                    <a:pt x="2289304" y="1204634"/>
                    <a:pt x="1647070" y="1041219"/>
                    <a:pt x="1647070" y="1041219"/>
                  </a:cubicBezTo>
                  <a:cubicBezTo>
                    <a:pt x="1647070" y="1041219"/>
                    <a:pt x="1289099" y="1153210"/>
                    <a:pt x="1064546" y="1179494"/>
                  </a:cubicBezTo>
                  <a:cubicBezTo>
                    <a:pt x="839992" y="1205777"/>
                    <a:pt x="384029" y="1322911"/>
                    <a:pt x="187760" y="1234632"/>
                  </a:cubicBezTo>
                  <a:cubicBezTo>
                    <a:pt x="-8796" y="1146068"/>
                    <a:pt x="61" y="1032363"/>
                    <a:pt x="61" y="1032363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43D13390-20A5-425A-A03C-904F58F0C65B}"/>
                </a:ext>
              </a:extLst>
            </p:cNvPr>
            <p:cNvSpPr/>
            <p:nvPr/>
          </p:nvSpPr>
          <p:spPr>
            <a:xfrm>
              <a:off x="6781442" y="3922383"/>
              <a:ext cx="946044" cy="316831"/>
            </a:xfrm>
            <a:custGeom>
              <a:avLst/>
              <a:gdLst>
                <a:gd name="connsiteX0" fmla="*/ 935067 w 946044"/>
                <a:gd name="connsiteY0" fmla="*/ 191413 h 316831"/>
                <a:gd name="connsiteX1" fmla="*/ 907926 w 946044"/>
                <a:gd name="connsiteY1" fmla="*/ 0 h 316831"/>
                <a:gd name="connsiteX2" fmla="*/ 826219 w 946044"/>
                <a:gd name="connsiteY2" fmla="*/ 75137 h 316831"/>
                <a:gd name="connsiteX3" fmla="*/ 646519 w 946044"/>
                <a:gd name="connsiteY3" fmla="*/ 58281 h 316831"/>
                <a:gd name="connsiteX4" fmla="*/ 0 w 946044"/>
                <a:gd name="connsiteY4" fmla="*/ 216840 h 316831"/>
                <a:gd name="connsiteX5" fmla="*/ 46853 w 946044"/>
                <a:gd name="connsiteY5" fmla="*/ 316831 h 316831"/>
                <a:gd name="connsiteX6" fmla="*/ 935067 w 946044"/>
                <a:gd name="connsiteY6" fmla="*/ 191413 h 316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6044" h="316831">
                  <a:moveTo>
                    <a:pt x="935067" y="191413"/>
                  </a:moveTo>
                  <a:cubicBezTo>
                    <a:pt x="970778" y="72280"/>
                    <a:pt x="907926" y="0"/>
                    <a:pt x="907926" y="0"/>
                  </a:cubicBezTo>
                  <a:lnTo>
                    <a:pt x="826219" y="75137"/>
                  </a:lnTo>
                  <a:lnTo>
                    <a:pt x="646519" y="58281"/>
                  </a:lnTo>
                  <a:lnTo>
                    <a:pt x="0" y="216840"/>
                  </a:lnTo>
                  <a:cubicBezTo>
                    <a:pt x="571" y="230267"/>
                    <a:pt x="6000" y="270549"/>
                    <a:pt x="46853" y="316831"/>
                  </a:cubicBezTo>
                  <a:cubicBezTo>
                    <a:pt x="222268" y="313975"/>
                    <a:pt x="904212" y="295405"/>
                    <a:pt x="935067" y="191413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A9918EC0-BC87-47E7-AFE9-40E10A0B9BDD}"/>
                </a:ext>
              </a:extLst>
            </p:cNvPr>
            <p:cNvSpPr/>
            <p:nvPr/>
          </p:nvSpPr>
          <p:spPr>
            <a:xfrm>
              <a:off x="7372251" y="3992092"/>
              <a:ext cx="235409" cy="85135"/>
            </a:xfrm>
            <a:custGeom>
              <a:avLst/>
              <a:gdLst>
                <a:gd name="connsiteX0" fmla="*/ 235409 w 235409"/>
                <a:gd name="connsiteY0" fmla="*/ 12285 h 85135"/>
                <a:gd name="connsiteX1" fmla="*/ 0 w 235409"/>
                <a:gd name="connsiteY1" fmla="*/ 85136 h 85135"/>
                <a:gd name="connsiteX2" fmla="*/ 126561 w 235409"/>
                <a:gd name="connsiteY2" fmla="*/ 0 h 85135"/>
                <a:gd name="connsiteX3" fmla="*/ 235409 w 235409"/>
                <a:gd name="connsiteY3" fmla="*/ 12285 h 85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409" h="85135">
                  <a:moveTo>
                    <a:pt x="235409" y="12285"/>
                  </a:moveTo>
                  <a:lnTo>
                    <a:pt x="0" y="85136"/>
                  </a:lnTo>
                  <a:cubicBezTo>
                    <a:pt x="0" y="85136"/>
                    <a:pt x="123990" y="9999"/>
                    <a:pt x="126561" y="0"/>
                  </a:cubicBezTo>
                  <a:lnTo>
                    <a:pt x="235409" y="12285"/>
                  </a:lnTo>
                  <a:close/>
                </a:path>
              </a:pathLst>
            </a:custGeom>
            <a:solidFill>
              <a:srgbClr val="2A3E33">
                <a:alpha val="62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1870685E-E85E-4A74-80F3-079C62C551D6}"/>
                </a:ext>
              </a:extLst>
            </p:cNvPr>
            <p:cNvSpPr/>
            <p:nvPr/>
          </p:nvSpPr>
          <p:spPr>
            <a:xfrm>
              <a:off x="9987660" y="4016642"/>
              <a:ext cx="222257" cy="579221"/>
            </a:xfrm>
            <a:custGeom>
              <a:avLst/>
              <a:gdLst>
                <a:gd name="connsiteX0" fmla="*/ 950 w 222257"/>
                <a:gd name="connsiteY0" fmla="*/ 20 h 579221"/>
                <a:gd name="connsiteX1" fmla="*/ 61231 w 222257"/>
                <a:gd name="connsiteY1" fmla="*/ 100297 h 579221"/>
                <a:gd name="connsiteX2" fmla="*/ 150081 w 222257"/>
                <a:gd name="connsiteY2" fmla="*/ 171720 h 579221"/>
                <a:gd name="connsiteX3" fmla="*/ 221789 w 222257"/>
                <a:gd name="connsiteY3" fmla="*/ 421128 h 579221"/>
                <a:gd name="connsiteX4" fmla="*/ 186363 w 222257"/>
                <a:gd name="connsiteY4" fmla="*/ 579116 h 579221"/>
                <a:gd name="connsiteX5" fmla="*/ 950 w 222257"/>
                <a:gd name="connsiteY5" fmla="*/ 20 h 579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2257" h="579221">
                  <a:moveTo>
                    <a:pt x="950" y="20"/>
                  </a:moveTo>
                  <a:cubicBezTo>
                    <a:pt x="4664" y="-1123"/>
                    <a:pt x="14949" y="47444"/>
                    <a:pt x="61231" y="100297"/>
                  </a:cubicBezTo>
                  <a:cubicBezTo>
                    <a:pt x="98656" y="142865"/>
                    <a:pt x="119226" y="142294"/>
                    <a:pt x="150081" y="171720"/>
                  </a:cubicBezTo>
                  <a:cubicBezTo>
                    <a:pt x="226074" y="244286"/>
                    <a:pt x="223218" y="364562"/>
                    <a:pt x="221789" y="421128"/>
                  </a:cubicBezTo>
                  <a:cubicBezTo>
                    <a:pt x="221503" y="436556"/>
                    <a:pt x="218075" y="574545"/>
                    <a:pt x="186363" y="579116"/>
                  </a:cubicBezTo>
                  <a:cubicBezTo>
                    <a:pt x="119797" y="588258"/>
                    <a:pt x="-12478" y="4019"/>
                    <a:pt x="950" y="2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BFDB78A9-EC11-41FD-9C07-731BB7056CE4}"/>
                </a:ext>
              </a:extLst>
            </p:cNvPr>
            <p:cNvSpPr/>
            <p:nvPr/>
          </p:nvSpPr>
          <p:spPr>
            <a:xfrm>
              <a:off x="6781442" y="3274932"/>
              <a:ext cx="847256" cy="867718"/>
            </a:xfrm>
            <a:custGeom>
              <a:avLst/>
              <a:gdLst>
                <a:gd name="connsiteX0" fmla="*/ 175986 w 847256"/>
                <a:gd name="connsiteY0" fmla="*/ 399757 h 867718"/>
                <a:gd name="connsiteX1" fmla="*/ 456534 w 847256"/>
                <a:gd name="connsiteY1" fmla="*/ 247483 h 867718"/>
                <a:gd name="connsiteX2" fmla="*/ 671946 w 847256"/>
                <a:gd name="connsiteY2" fmla="*/ 229771 h 867718"/>
                <a:gd name="connsiteX3" fmla="*/ 796507 w 847256"/>
                <a:gd name="connsiteY3" fmla="*/ 229771 h 867718"/>
                <a:gd name="connsiteX4" fmla="*/ 844789 w 847256"/>
                <a:gd name="connsiteY4" fmla="*/ 18359 h 867718"/>
                <a:gd name="connsiteX5" fmla="*/ 796221 w 847256"/>
                <a:gd name="connsiteY5" fmla="*/ 1789 h 867718"/>
                <a:gd name="connsiteX6" fmla="*/ 548813 w 847256"/>
                <a:gd name="connsiteY6" fmla="*/ 157205 h 867718"/>
                <a:gd name="connsiteX7" fmla="*/ 117990 w 847256"/>
                <a:gd name="connsiteY7" fmla="*/ 380901 h 867718"/>
                <a:gd name="connsiteX8" fmla="*/ 0 w 847256"/>
                <a:gd name="connsiteY8" fmla="*/ 859434 h 867718"/>
                <a:gd name="connsiteX9" fmla="*/ 286 w 847256"/>
                <a:gd name="connsiteY9" fmla="*/ 867719 h 867718"/>
                <a:gd name="connsiteX10" fmla="*/ 108563 w 847256"/>
                <a:gd name="connsiteY10" fmla="*/ 836579 h 867718"/>
                <a:gd name="connsiteX11" fmla="*/ 214268 w 847256"/>
                <a:gd name="connsiteY11" fmla="*/ 736301 h 867718"/>
                <a:gd name="connsiteX12" fmla="*/ 143417 w 847256"/>
                <a:gd name="connsiteY12" fmla="*/ 674306 h 867718"/>
                <a:gd name="connsiteX13" fmla="*/ 74280 w 847256"/>
                <a:gd name="connsiteY13" fmla="*/ 733158 h 867718"/>
                <a:gd name="connsiteX14" fmla="*/ 72566 w 847256"/>
                <a:gd name="connsiteY14" fmla="*/ 693447 h 867718"/>
                <a:gd name="connsiteX15" fmla="*/ 175986 w 847256"/>
                <a:gd name="connsiteY15" fmla="*/ 399757 h 86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47256" h="867718">
                  <a:moveTo>
                    <a:pt x="175986" y="399757"/>
                  </a:moveTo>
                  <a:cubicBezTo>
                    <a:pt x="273978" y="285480"/>
                    <a:pt x="407396" y="257768"/>
                    <a:pt x="456534" y="247483"/>
                  </a:cubicBezTo>
                  <a:cubicBezTo>
                    <a:pt x="559669" y="226057"/>
                    <a:pt x="671946" y="229771"/>
                    <a:pt x="671946" y="229771"/>
                  </a:cubicBezTo>
                  <a:cubicBezTo>
                    <a:pt x="751082" y="232342"/>
                    <a:pt x="771652" y="243198"/>
                    <a:pt x="796507" y="229771"/>
                  </a:cubicBezTo>
                  <a:cubicBezTo>
                    <a:pt x="829076" y="212343"/>
                    <a:pt x="855645" y="160062"/>
                    <a:pt x="844789" y="18359"/>
                  </a:cubicBezTo>
                  <a:cubicBezTo>
                    <a:pt x="831933" y="10931"/>
                    <a:pt x="816220" y="5217"/>
                    <a:pt x="796221" y="1789"/>
                  </a:cubicBezTo>
                  <a:cubicBezTo>
                    <a:pt x="682230" y="-16781"/>
                    <a:pt x="615379" y="114351"/>
                    <a:pt x="548813" y="157205"/>
                  </a:cubicBezTo>
                  <a:cubicBezTo>
                    <a:pt x="482247" y="200059"/>
                    <a:pt x="203698" y="327477"/>
                    <a:pt x="117990" y="380901"/>
                  </a:cubicBezTo>
                  <a:cubicBezTo>
                    <a:pt x="32283" y="434897"/>
                    <a:pt x="0" y="859434"/>
                    <a:pt x="0" y="859434"/>
                  </a:cubicBezTo>
                  <a:cubicBezTo>
                    <a:pt x="0" y="859434"/>
                    <a:pt x="286" y="866576"/>
                    <a:pt x="286" y="867719"/>
                  </a:cubicBezTo>
                  <a:lnTo>
                    <a:pt x="108563" y="836579"/>
                  </a:lnTo>
                  <a:cubicBezTo>
                    <a:pt x="108563" y="836579"/>
                    <a:pt x="206269" y="760299"/>
                    <a:pt x="214268" y="736301"/>
                  </a:cubicBezTo>
                  <a:cubicBezTo>
                    <a:pt x="222268" y="712303"/>
                    <a:pt x="183985" y="678020"/>
                    <a:pt x="143417" y="674306"/>
                  </a:cubicBezTo>
                  <a:cubicBezTo>
                    <a:pt x="107420" y="670878"/>
                    <a:pt x="74280" y="733158"/>
                    <a:pt x="74280" y="733158"/>
                  </a:cubicBezTo>
                  <a:lnTo>
                    <a:pt x="72566" y="693447"/>
                  </a:lnTo>
                  <a:cubicBezTo>
                    <a:pt x="72566" y="646308"/>
                    <a:pt x="79136" y="512890"/>
                    <a:pt x="175986" y="399757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575A2BAB-9B75-4376-93E3-3968DA3CF879}"/>
                </a:ext>
              </a:extLst>
            </p:cNvPr>
            <p:cNvSpPr/>
            <p:nvPr/>
          </p:nvSpPr>
          <p:spPr>
            <a:xfrm>
              <a:off x="7036063" y="3575169"/>
              <a:ext cx="363206" cy="313240"/>
            </a:xfrm>
            <a:custGeom>
              <a:avLst/>
              <a:gdLst>
                <a:gd name="connsiteX0" fmla="*/ 215 w 363206"/>
                <a:gd name="connsiteY0" fmla="*/ 148944 h 313240"/>
                <a:gd name="connsiteX1" fmla="*/ 17356 w 363206"/>
                <a:gd name="connsiteY1" fmla="*/ 77522 h 313240"/>
                <a:gd name="connsiteX2" fmla="*/ 37640 w 363206"/>
                <a:gd name="connsiteY2" fmla="*/ 46096 h 313240"/>
                <a:gd name="connsiteX3" fmla="*/ 65638 w 363206"/>
                <a:gd name="connsiteY3" fmla="*/ 21241 h 313240"/>
                <a:gd name="connsiteX4" fmla="*/ 136490 w 363206"/>
                <a:gd name="connsiteY4" fmla="*/ 99 h 313240"/>
                <a:gd name="connsiteX5" fmla="*/ 211055 w 363206"/>
                <a:gd name="connsiteY5" fmla="*/ 8099 h 313240"/>
                <a:gd name="connsiteX6" fmla="*/ 335045 w 363206"/>
                <a:gd name="connsiteY6" fmla="*/ 70665 h 313240"/>
                <a:gd name="connsiteX7" fmla="*/ 363043 w 363206"/>
                <a:gd name="connsiteY7" fmla="*/ 126946 h 313240"/>
                <a:gd name="connsiteX8" fmla="*/ 202199 w 363206"/>
                <a:gd name="connsiteY8" fmla="*/ 310646 h 313240"/>
                <a:gd name="connsiteX9" fmla="*/ 24784 w 363206"/>
                <a:gd name="connsiteY9" fmla="*/ 259507 h 313240"/>
                <a:gd name="connsiteX10" fmla="*/ 215 w 363206"/>
                <a:gd name="connsiteY10" fmla="*/ 148944 h 313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3206" h="313240">
                  <a:moveTo>
                    <a:pt x="215" y="148944"/>
                  </a:moveTo>
                  <a:cubicBezTo>
                    <a:pt x="1358" y="124661"/>
                    <a:pt x="6786" y="100091"/>
                    <a:pt x="17356" y="77522"/>
                  </a:cubicBezTo>
                  <a:cubicBezTo>
                    <a:pt x="22499" y="66094"/>
                    <a:pt x="29641" y="55809"/>
                    <a:pt x="37640" y="46096"/>
                  </a:cubicBezTo>
                  <a:cubicBezTo>
                    <a:pt x="45926" y="36668"/>
                    <a:pt x="55353" y="28383"/>
                    <a:pt x="65638" y="21241"/>
                  </a:cubicBezTo>
                  <a:cubicBezTo>
                    <a:pt x="86779" y="7527"/>
                    <a:pt x="111634" y="385"/>
                    <a:pt x="136490" y="99"/>
                  </a:cubicBezTo>
                  <a:cubicBezTo>
                    <a:pt x="161345" y="-758"/>
                    <a:pt x="186486" y="4099"/>
                    <a:pt x="211055" y="8099"/>
                  </a:cubicBezTo>
                  <a:cubicBezTo>
                    <a:pt x="259622" y="16955"/>
                    <a:pt x="306476" y="34097"/>
                    <a:pt x="335045" y="70665"/>
                  </a:cubicBezTo>
                  <a:cubicBezTo>
                    <a:pt x="348472" y="86949"/>
                    <a:pt x="357615" y="106376"/>
                    <a:pt x="363043" y="126946"/>
                  </a:cubicBezTo>
                  <a:cubicBezTo>
                    <a:pt x="367328" y="207797"/>
                    <a:pt x="286763" y="293504"/>
                    <a:pt x="202199" y="310646"/>
                  </a:cubicBezTo>
                  <a:cubicBezTo>
                    <a:pt x="131061" y="324930"/>
                    <a:pt x="68781" y="276363"/>
                    <a:pt x="24784" y="259507"/>
                  </a:cubicBezTo>
                  <a:cubicBezTo>
                    <a:pt x="7072" y="225795"/>
                    <a:pt x="-1499" y="187798"/>
                    <a:pt x="215" y="148944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A55AA15E-A9A0-4007-B5BE-05E2059C8D6E}"/>
                </a:ext>
              </a:extLst>
            </p:cNvPr>
            <p:cNvSpPr/>
            <p:nvPr/>
          </p:nvSpPr>
          <p:spPr>
            <a:xfrm>
              <a:off x="7015782" y="3562984"/>
              <a:ext cx="330470" cy="385538"/>
            </a:xfrm>
            <a:custGeom>
              <a:avLst/>
              <a:gdLst>
                <a:gd name="connsiteX0" fmla="*/ 256763 w 330470"/>
                <a:gd name="connsiteY0" fmla="*/ 340544 h 385538"/>
                <a:gd name="connsiteX1" fmla="*/ 149057 w 330470"/>
                <a:gd name="connsiteY1" fmla="*/ 287405 h 385538"/>
                <a:gd name="connsiteX2" fmla="*/ 110774 w 330470"/>
                <a:gd name="connsiteY2" fmla="*/ 136560 h 385538"/>
                <a:gd name="connsiteX3" fmla="*/ 205053 w 330470"/>
                <a:gd name="connsiteY3" fmla="*/ 0 h 385538"/>
                <a:gd name="connsiteX4" fmla="*/ 84205 w 330470"/>
                <a:gd name="connsiteY4" fmla="*/ 31140 h 385538"/>
                <a:gd name="connsiteX5" fmla="*/ 3355 w 330470"/>
                <a:gd name="connsiteY5" fmla="*/ 159130 h 385538"/>
                <a:gd name="connsiteX6" fmla="*/ 41637 w 330470"/>
                <a:gd name="connsiteY6" fmla="*/ 309975 h 385538"/>
                <a:gd name="connsiteX7" fmla="*/ 177055 w 330470"/>
                <a:gd name="connsiteY7" fmla="*/ 383683 h 385538"/>
                <a:gd name="connsiteX8" fmla="*/ 325900 w 330470"/>
                <a:gd name="connsiteY8" fmla="*/ 349115 h 385538"/>
                <a:gd name="connsiteX9" fmla="*/ 330471 w 330470"/>
                <a:gd name="connsiteY9" fmla="*/ 345972 h 385538"/>
                <a:gd name="connsiteX10" fmla="*/ 256763 w 330470"/>
                <a:gd name="connsiteY10" fmla="*/ 340544 h 38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0470" h="385538">
                  <a:moveTo>
                    <a:pt x="256763" y="340544"/>
                  </a:moveTo>
                  <a:cubicBezTo>
                    <a:pt x="205338" y="334544"/>
                    <a:pt x="183054" y="329116"/>
                    <a:pt x="149057" y="287405"/>
                  </a:cubicBezTo>
                  <a:cubicBezTo>
                    <a:pt x="115060" y="246266"/>
                    <a:pt x="100204" y="188556"/>
                    <a:pt x="110774" y="136560"/>
                  </a:cubicBezTo>
                  <a:cubicBezTo>
                    <a:pt x="119631" y="88850"/>
                    <a:pt x="168198" y="28855"/>
                    <a:pt x="205053" y="0"/>
                  </a:cubicBezTo>
                  <a:cubicBezTo>
                    <a:pt x="187625" y="4571"/>
                    <a:pt x="99061" y="21141"/>
                    <a:pt x="84205" y="31140"/>
                  </a:cubicBezTo>
                  <a:cubicBezTo>
                    <a:pt x="41637" y="59709"/>
                    <a:pt x="12782" y="107420"/>
                    <a:pt x="3355" y="159130"/>
                  </a:cubicBezTo>
                  <a:cubicBezTo>
                    <a:pt x="-7216" y="211126"/>
                    <a:pt x="7640" y="268835"/>
                    <a:pt x="41637" y="309975"/>
                  </a:cubicBezTo>
                  <a:cubicBezTo>
                    <a:pt x="75349" y="351686"/>
                    <a:pt x="125916" y="377684"/>
                    <a:pt x="177055" y="383683"/>
                  </a:cubicBezTo>
                  <a:cubicBezTo>
                    <a:pt x="228479" y="390540"/>
                    <a:pt x="281903" y="378255"/>
                    <a:pt x="325900" y="349115"/>
                  </a:cubicBezTo>
                  <a:cubicBezTo>
                    <a:pt x="327328" y="347972"/>
                    <a:pt x="328757" y="346829"/>
                    <a:pt x="330471" y="345972"/>
                  </a:cubicBezTo>
                  <a:cubicBezTo>
                    <a:pt x="300188" y="355685"/>
                    <a:pt x="288189" y="344543"/>
                    <a:pt x="256763" y="340544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A4ACE696-2BED-471A-90CD-66E40EA53AFB}"/>
                </a:ext>
              </a:extLst>
            </p:cNvPr>
            <p:cNvSpPr/>
            <p:nvPr/>
          </p:nvSpPr>
          <p:spPr>
            <a:xfrm>
              <a:off x="7190184" y="3686632"/>
              <a:ext cx="114357" cy="84380"/>
            </a:xfrm>
            <a:custGeom>
              <a:avLst/>
              <a:gdLst>
                <a:gd name="connsiteX0" fmla="*/ 36935 w 114357"/>
                <a:gd name="connsiteY0" fmla="*/ 1199 h 84380"/>
                <a:gd name="connsiteX1" fmla="*/ 10652 w 114357"/>
                <a:gd name="connsiteY1" fmla="*/ 73764 h 84380"/>
                <a:gd name="connsiteX2" fmla="*/ 33793 w 114357"/>
                <a:gd name="connsiteY2" fmla="*/ 84335 h 84380"/>
                <a:gd name="connsiteX3" fmla="*/ 90645 w 114357"/>
                <a:gd name="connsiteY3" fmla="*/ 27196 h 84380"/>
                <a:gd name="connsiteX4" fmla="*/ 114357 w 114357"/>
                <a:gd name="connsiteY4" fmla="*/ 12055 h 84380"/>
                <a:gd name="connsiteX5" fmla="*/ 36935 w 114357"/>
                <a:gd name="connsiteY5" fmla="*/ 1199 h 8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57" h="84380">
                  <a:moveTo>
                    <a:pt x="36935" y="1199"/>
                  </a:moveTo>
                  <a:cubicBezTo>
                    <a:pt x="3509" y="6627"/>
                    <a:pt x="-11918" y="48338"/>
                    <a:pt x="10652" y="73764"/>
                  </a:cubicBezTo>
                  <a:cubicBezTo>
                    <a:pt x="16365" y="80049"/>
                    <a:pt x="23793" y="84906"/>
                    <a:pt x="33793" y="84335"/>
                  </a:cubicBezTo>
                  <a:cubicBezTo>
                    <a:pt x="63219" y="82906"/>
                    <a:pt x="83503" y="76907"/>
                    <a:pt x="90645" y="27196"/>
                  </a:cubicBezTo>
                  <a:cubicBezTo>
                    <a:pt x="90645" y="27196"/>
                    <a:pt x="102358" y="14340"/>
                    <a:pt x="114357" y="12055"/>
                  </a:cubicBezTo>
                  <a:cubicBezTo>
                    <a:pt x="114357" y="12055"/>
                    <a:pt x="71504" y="-4515"/>
                    <a:pt x="36935" y="1199"/>
                  </a:cubicBezTo>
                  <a:close/>
                </a:path>
              </a:pathLst>
            </a:custGeom>
            <a:solidFill>
              <a:srgbClr val="2A3E33">
                <a:alpha val="62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7DCDF571-63C2-4639-9B18-05D38D5D2CE7}"/>
                </a:ext>
              </a:extLst>
            </p:cNvPr>
            <p:cNvSpPr/>
            <p:nvPr/>
          </p:nvSpPr>
          <p:spPr>
            <a:xfrm>
              <a:off x="6859984" y="4004213"/>
              <a:ext cx="79758" cy="55948"/>
            </a:xfrm>
            <a:custGeom>
              <a:avLst/>
              <a:gdLst>
                <a:gd name="connsiteX0" fmla="*/ 880 w 79758"/>
                <a:gd name="connsiteY0" fmla="*/ 47588 h 55948"/>
                <a:gd name="connsiteX1" fmla="*/ 79159 w 79758"/>
                <a:gd name="connsiteY1" fmla="*/ 4163 h 55948"/>
                <a:gd name="connsiteX2" fmla="*/ 880 w 79758"/>
                <a:gd name="connsiteY2" fmla="*/ 47588 h 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758" h="55948">
                  <a:moveTo>
                    <a:pt x="880" y="47588"/>
                  </a:moveTo>
                  <a:cubicBezTo>
                    <a:pt x="880" y="47588"/>
                    <a:pt x="69731" y="-16692"/>
                    <a:pt x="79159" y="4163"/>
                  </a:cubicBezTo>
                  <a:cubicBezTo>
                    <a:pt x="88301" y="25019"/>
                    <a:pt x="-10262" y="75872"/>
                    <a:pt x="880" y="47588"/>
                  </a:cubicBezTo>
                  <a:close/>
                </a:path>
              </a:pathLst>
            </a:custGeom>
            <a:solidFill>
              <a:srgbClr val="1D2345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37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6781727" y="3915527"/>
              <a:ext cx="907640" cy="227124"/>
              <a:chOff x="6781727" y="3915527"/>
              <a:chExt cx="907640" cy="227124"/>
            </a:xfrm>
          </p:grpSpPr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1C12C61C-8889-4779-9DA9-49F7F949D747}"/>
                  </a:ext>
                </a:extLst>
              </p:cNvPr>
              <p:cNvSpPr/>
              <p:nvPr/>
            </p:nvSpPr>
            <p:spPr>
              <a:xfrm>
                <a:off x="6782584" y="3922669"/>
                <a:ext cx="906783" cy="219982"/>
              </a:xfrm>
              <a:custGeom>
                <a:avLst/>
                <a:gdLst>
                  <a:gd name="connsiteX0" fmla="*/ 0 w 906783"/>
                  <a:gd name="connsiteY0" fmla="*/ 219982 h 219982"/>
                  <a:gd name="connsiteX1" fmla="*/ 228553 w 906783"/>
                  <a:gd name="connsiteY1" fmla="*/ 146560 h 219982"/>
                  <a:gd name="connsiteX2" fmla="*/ 460248 w 906783"/>
                  <a:gd name="connsiteY2" fmla="*/ 83708 h 219982"/>
                  <a:gd name="connsiteX3" fmla="*/ 577668 w 906783"/>
                  <a:gd name="connsiteY3" fmla="*/ 57138 h 219982"/>
                  <a:gd name="connsiteX4" fmla="*/ 637663 w 906783"/>
                  <a:gd name="connsiteY4" fmla="*/ 46853 h 219982"/>
                  <a:gd name="connsiteX5" fmla="*/ 653376 w 906783"/>
                  <a:gd name="connsiteY5" fmla="*/ 45425 h 219982"/>
                  <a:gd name="connsiteX6" fmla="*/ 661946 w 906783"/>
                  <a:gd name="connsiteY6" fmla="*/ 45425 h 219982"/>
                  <a:gd name="connsiteX7" fmla="*/ 669660 w 906783"/>
                  <a:gd name="connsiteY7" fmla="*/ 45996 h 219982"/>
                  <a:gd name="connsiteX8" fmla="*/ 699943 w 906783"/>
                  <a:gd name="connsiteY8" fmla="*/ 49425 h 219982"/>
                  <a:gd name="connsiteX9" fmla="*/ 759367 w 906783"/>
                  <a:gd name="connsiteY9" fmla="*/ 59709 h 219982"/>
                  <a:gd name="connsiteX10" fmla="*/ 817362 w 906783"/>
                  <a:gd name="connsiteY10" fmla="*/ 68852 h 219982"/>
                  <a:gd name="connsiteX11" fmla="*/ 823933 w 906783"/>
                  <a:gd name="connsiteY11" fmla="*/ 68852 h 219982"/>
                  <a:gd name="connsiteX12" fmla="*/ 829361 w 906783"/>
                  <a:gd name="connsiteY12" fmla="*/ 67423 h 219982"/>
                  <a:gd name="connsiteX13" fmla="*/ 841360 w 906783"/>
                  <a:gd name="connsiteY13" fmla="*/ 60566 h 219982"/>
                  <a:gd name="connsiteX14" fmla="*/ 864216 w 906783"/>
                  <a:gd name="connsiteY14" fmla="*/ 41997 h 219982"/>
                  <a:gd name="connsiteX15" fmla="*/ 906784 w 906783"/>
                  <a:gd name="connsiteY15" fmla="*/ 0 h 219982"/>
                  <a:gd name="connsiteX16" fmla="*/ 869072 w 906783"/>
                  <a:gd name="connsiteY16" fmla="*/ 47139 h 219982"/>
                  <a:gd name="connsiteX17" fmla="*/ 847360 w 906783"/>
                  <a:gd name="connsiteY17" fmla="*/ 68566 h 219982"/>
                  <a:gd name="connsiteX18" fmla="*/ 834218 w 906783"/>
                  <a:gd name="connsiteY18" fmla="*/ 77994 h 219982"/>
                  <a:gd name="connsiteX19" fmla="*/ 825647 w 906783"/>
                  <a:gd name="connsiteY19" fmla="*/ 81422 h 219982"/>
                  <a:gd name="connsiteX20" fmla="*/ 817077 w 906783"/>
                  <a:gd name="connsiteY20" fmla="*/ 82565 h 219982"/>
                  <a:gd name="connsiteX21" fmla="*/ 755939 w 906783"/>
                  <a:gd name="connsiteY21" fmla="*/ 77708 h 219982"/>
                  <a:gd name="connsiteX22" fmla="*/ 696801 w 906783"/>
                  <a:gd name="connsiteY22" fmla="*/ 70851 h 219982"/>
                  <a:gd name="connsiteX23" fmla="*/ 667375 w 906783"/>
                  <a:gd name="connsiteY23" fmla="*/ 69137 h 219982"/>
                  <a:gd name="connsiteX24" fmla="*/ 659947 w 906783"/>
                  <a:gd name="connsiteY24" fmla="*/ 68852 h 219982"/>
                  <a:gd name="connsiteX25" fmla="*/ 653661 w 906783"/>
                  <a:gd name="connsiteY25" fmla="*/ 69137 h 219982"/>
                  <a:gd name="connsiteX26" fmla="*/ 639662 w 906783"/>
                  <a:gd name="connsiteY26" fmla="*/ 70851 h 219982"/>
                  <a:gd name="connsiteX27" fmla="*/ 581667 w 906783"/>
                  <a:gd name="connsiteY27" fmla="*/ 82565 h 219982"/>
                  <a:gd name="connsiteX28" fmla="*/ 465391 w 906783"/>
                  <a:gd name="connsiteY28" fmla="*/ 110277 h 219982"/>
                  <a:gd name="connsiteX29" fmla="*/ 232838 w 906783"/>
                  <a:gd name="connsiteY29" fmla="*/ 167129 h 219982"/>
                  <a:gd name="connsiteX30" fmla="*/ 0 w 906783"/>
                  <a:gd name="connsiteY30" fmla="*/ 219982 h 219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06783" h="219982">
                    <a:moveTo>
                      <a:pt x="0" y="219982"/>
                    </a:moveTo>
                    <a:cubicBezTo>
                      <a:pt x="75708" y="193413"/>
                      <a:pt x="151702" y="169129"/>
                      <a:pt x="228553" y="146560"/>
                    </a:cubicBezTo>
                    <a:cubicBezTo>
                      <a:pt x="305118" y="123990"/>
                      <a:pt x="382540" y="103135"/>
                      <a:pt x="460248" y="83708"/>
                    </a:cubicBezTo>
                    <a:cubicBezTo>
                      <a:pt x="499102" y="74280"/>
                      <a:pt x="538242" y="65138"/>
                      <a:pt x="577668" y="57138"/>
                    </a:cubicBezTo>
                    <a:cubicBezTo>
                      <a:pt x="597380" y="53139"/>
                      <a:pt x="617093" y="49710"/>
                      <a:pt x="637663" y="46853"/>
                    </a:cubicBezTo>
                    <a:cubicBezTo>
                      <a:pt x="642805" y="46282"/>
                      <a:pt x="647948" y="45711"/>
                      <a:pt x="653376" y="45425"/>
                    </a:cubicBezTo>
                    <a:lnTo>
                      <a:pt x="661946" y="45425"/>
                    </a:lnTo>
                    <a:lnTo>
                      <a:pt x="669660" y="45996"/>
                    </a:lnTo>
                    <a:cubicBezTo>
                      <a:pt x="679945" y="46853"/>
                      <a:pt x="689944" y="47996"/>
                      <a:pt x="699943" y="49425"/>
                    </a:cubicBezTo>
                    <a:cubicBezTo>
                      <a:pt x="719942" y="52281"/>
                      <a:pt x="739940" y="55710"/>
                      <a:pt x="759367" y="59709"/>
                    </a:cubicBezTo>
                    <a:cubicBezTo>
                      <a:pt x="778794" y="63423"/>
                      <a:pt x="798792" y="67995"/>
                      <a:pt x="817362" y="68852"/>
                    </a:cubicBezTo>
                    <a:cubicBezTo>
                      <a:pt x="819648" y="69137"/>
                      <a:pt x="821648" y="68852"/>
                      <a:pt x="823933" y="68852"/>
                    </a:cubicBezTo>
                    <a:cubicBezTo>
                      <a:pt x="825647" y="68566"/>
                      <a:pt x="827362" y="68280"/>
                      <a:pt x="829361" y="67423"/>
                    </a:cubicBezTo>
                    <a:cubicBezTo>
                      <a:pt x="833361" y="65709"/>
                      <a:pt x="837361" y="63138"/>
                      <a:pt x="841360" y="60566"/>
                    </a:cubicBezTo>
                    <a:cubicBezTo>
                      <a:pt x="849360" y="55138"/>
                      <a:pt x="856788" y="48567"/>
                      <a:pt x="864216" y="41997"/>
                    </a:cubicBezTo>
                    <a:cubicBezTo>
                      <a:pt x="878786" y="28569"/>
                      <a:pt x="893070" y="14570"/>
                      <a:pt x="906784" y="0"/>
                    </a:cubicBezTo>
                    <a:cubicBezTo>
                      <a:pt x="895070" y="16284"/>
                      <a:pt x="882786" y="31997"/>
                      <a:pt x="869072" y="47139"/>
                    </a:cubicBezTo>
                    <a:cubicBezTo>
                      <a:pt x="862216" y="54567"/>
                      <a:pt x="855359" y="61995"/>
                      <a:pt x="847360" y="68566"/>
                    </a:cubicBezTo>
                    <a:cubicBezTo>
                      <a:pt x="843360" y="71994"/>
                      <a:pt x="839361" y="75137"/>
                      <a:pt x="834218" y="77994"/>
                    </a:cubicBezTo>
                    <a:cubicBezTo>
                      <a:pt x="831933" y="79422"/>
                      <a:pt x="828790" y="80565"/>
                      <a:pt x="825647" y="81422"/>
                    </a:cubicBezTo>
                    <a:cubicBezTo>
                      <a:pt x="822791" y="81993"/>
                      <a:pt x="819934" y="82565"/>
                      <a:pt x="817077" y="82565"/>
                    </a:cubicBezTo>
                    <a:cubicBezTo>
                      <a:pt x="795650" y="83136"/>
                      <a:pt x="775937" y="79708"/>
                      <a:pt x="755939" y="77708"/>
                    </a:cubicBezTo>
                    <a:cubicBezTo>
                      <a:pt x="736226" y="75422"/>
                      <a:pt x="716513" y="72566"/>
                      <a:pt x="696801" y="70851"/>
                    </a:cubicBezTo>
                    <a:cubicBezTo>
                      <a:pt x="687087" y="69994"/>
                      <a:pt x="677088" y="69423"/>
                      <a:pt x="667375" y="69137"/>
                    </a:cubicBezTo>
                    <a:lnTo>
                      <a:pt x="659947" y="68852"/>
                    </a:lnTo>
                    <a:lnTo>
                      <a:pt x="653661" y="69137"/>
                    </a:lnTo>
                    <a:cubicBezTo>
                      <a:pt x="649090" y="69709"/>
                      <a:pt x="644519" y="69994"/>
                      <a:pt x="639662" y="70851"/>
                    </a:cubicBezTo>
                    <a:cubicBezTo>
                      <a:pt x="620521" y="73994"/>
                      <a:pt x="601094" y="78279"/>
                      <a:pt x="581667" y="82565"/>
                    </a:cubicBezTo>
                    <a:cubicBezTo>
                      <a:pt x="542813" y="91135"/>
                      <a:pt x="504245" y="100563"/>
                      <a:pt x="465391" y="110277"/>
                    </a:cubicBezTo>
                    <a:lnTo>
                      <a:pt x="232838" y="167129"/>
                    </a:lnTo>
                    <a:cubicBezTo>
                      <a:pt x="156273" y="185985"/>
                      <a:pt x="78279" y="203412"/>
                      <a:pt x="0" y="219982"/>
                    </a:cubicBez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92F03F1D-60A7-4F5F-B137-364DE9420917}"/>
                  </a:ext>
                </a:extLst>
              </p:cNvPr>
              <p:cNvSpPr/>
              <p:nvPr/>
            </p:nvSpPr>
            <p:spPr>
              <a:xfrm>
                <a:off x="6781727" y="3915527"/>
                <a:ext cx="907355" cy="227124"/>
              </a:xfrm>
              <a:custGeom>
                <a:avLst/>
                <a:gdLst>
                  <a:gd name="connsiteX0" fmla="*/ 907355 w 907355"/>
                  <a:gd name="connsiteY0" fmla="*/ 0 h 227124"/>
                  <a:gd name="connsiteX1" fmla="*/ 867930 w 907355"/>
                  <a:gd name="connsiteY1" fmla="*/ 45425 h 227124"/>
                  <a:gd name="connsiteX2" fmla="*/ 845932 w 907355"/>
                  <a:gd name="connsiteY2" fmla="*/ 65995 h 227124"/>
                  <a:gd name="connsiteX3" fmla="*/ 833075 w 907355"/>
                  <a:gd name="connsiteY3" fmla="*/ 74565 h 227124"/>
                  <a:gd name="connsiteX4" fmla="*/ 817648 w 907355"/>
                  <a:gd name="connsiteY4" fmla="*/ 77994 h 227124"/>
                  <a:gd name="connsiteX5" fmla="*/ 757653 w 907355"/>
                  <a:gd name="connsiteY5" fmla="*/ 71423 h 227124"/>
                  <a:gd name="connsiteX6" fmla="*/ 698229 w 907355"/>
                  <a:gd name="connsiteY6" fmla="*/ 63709 h 227124"/>
                  <a:gd name="connsiteX7" fmla="*/ 639377 w 907355"/>
                  <a:gd name="connsiteY7" fmla="*/ 63423 h 227124"/>
                  <a:gd name="connsiteX8" fmla="*/ 580810 w 907355"/>
                  <a:gd name="connsiteY8" fmla="*/ 75137 h 227124"/>
                  <a:gd name="connsiteX9" fmla="*/ 464248 w 907355"/>
                  <a:gd name="connsiteY9" fmla="*/ 103992 h 227124"/>
                  <a:gd name="connsiteX10" fmla="*/ 231981 w 907355"/>
                  <a:gd name="connsiteY10" fmla="*/ 165129 h 227124"/>
                  <a:gd name="connsiteX11" fmla="*/ 0 w 907355"/>
                  <a:gd name="connsiteY11" fmla="*/ 227124 h 227124"/>
                  <a:gd name="connsiteX12" fmla="*/ 114848 w 907355"/>
                  <a:gd name="connsiteY12" fmla="*/ 191699 h 227124"/>
                  <a:gd name="connsiteX13" fmla="*/ 230267 w 907355"/>
                  <a:gd name="connsiteY13" fmla="*/ 157987 h 227124"/>
                  <a:gd name="connsiteX14" fmla="*/ 461963 w 907355"/>
                  <a:gd name="connsiteY14" fmla="*/ 94564 h 227124"/>
                  <a:gd name="connsiteX15" fmla="*/ 579096 w 907355"/>
                  <a:gd name="connsiteY15" fmla="*/ 66566 h 227124"/>
                  <a:gd name="connsiteX16" fmla="*/ 638520 w 907355"/>
                  <a:gd name="connsiteY16" fmla="*/ 55138 h 227124"/>
                  <a:gd name="connsiteX17" fmla="*/ 653947 w 907355"/>
                  <a:gd name="connsiteY17" fmla="*/ 53710 h 227124"/>
                  <a:gd name="connsiteX18" fmla="*/ 661661 w 907355"/>
                  <a:gd name="connsiteY18" fmla="*/ 53139 h 227124"/>
                  <a:gd name="connsiteX19" fmla="*/ 669374 w 907355"/>
                  <a:gd name="connsiteY19" fmla="*/ 53710 h 227124"/>
                  <a:gd name="connsiteX20" fmla="*/ 699372 w 907355"/>
                  <a:gd name="connsiteY20" fmla="*/ 56567 h 227124"/>
                  <a:gd name="connsiteX21" fmla="*/ 758796 w 907355"/>
                  <a:gd name="connsiteY21" fmla="*/ 65709 h 227124"/>
                  <a:gd name="connsiteX22" fmla="*/ 817934 w 907355"/>
                  <a:gd name="connsiteY22" fmla="*/ 73423 h 227124"/>
                  <a:gd name="connsiteX23" fmla="*/ 843932 w 907355"/>
                  <a:gd name="connsiteY23" fmla="*/ 63138 h 227124"/>
                  <a:gd name="connsiteX24" fmla="*/ 866501 w 907355"/>
                  <a:gd name="connsiteY24" fmla="*/ 43711 h 227124"/>
                  <a:gd name="connsiteX25" fmla="*/ 907355 w 907355"/>
                  <a:gd name="connsiteY25" fmla="*/ 0 h 22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07355" h="227124">
                    <a:moveTo>
                      <a:pt x="907355" y="0"/>
                    </a:moveTo>
                    <a:cubicBezTo>
                      <a:pt x="894785" y="15713"/>
                      <a:pt x="881929" y="30855"/>
                      <a:pt x="867930" y="45425"/>
                    </a:cubicBezTo>
                    <a:cubicBezTo>
                      <a:pt x="861073" y="52567"/>
                      <a:pt x="853645" y="59709"/>
                      <a:pt x="845932" y="65995"/>
                    </a:cubicBezTo>
                    <a:cubicBezTo>
                      <a:pt x="841932" y="69137"/>
                      <a:pt x="837932" y="72280"/>
                      <a:pt x="833075" y="74565"/>
                    </a:cubicBezTo>
                    <a:cubicBezTo>
                      <a:pt x="828219" y="77137"/>
                      <a:pt x="822790" y="78279"/>
                      <a:pt x="817648" y="77994"/>
                    </a:cubicBezTo>
                    <a:cubicBezTo>
                      <a:pt x="797078" y="77994"/>
                      <a:pt x="777366" y="74280"/>
                      <a:pt x="757653" y="71423"/>
                    </a:cubicBezTo>
                    <a:cubicBezTo>
                      <a:pt x="737940" y="68566"/>
                      <a:pt x="718228" y="65709"/>
                      <a:pt x="698229" y="63709"/>
                    </a:cubicBezTo>
                    <a:cubicBezTo>
                      <a:pt x="678516" y="61709"/>
                      <a:pt x="658518" y="60281"/>
                      <a:pt x="639377" y="63423"/>
                    </a:cubicBezTo>
                    <a:cubicBezTo>
                      <a:pt x="619950" y="66566"/>
                      <a:pt x="600237" y="70851"/>
                      <a:pt x="580810" y="75137"/>
                    </a:cubicBezTo>
                    <a:cubicBezTo>
                      <a:pt x="541956" y="83993"/>
                      <a:pt x="503102" y="93707"/>
                      <a:pt x="464248" y="103992"/>
                    </a:cubicBezTo>
                    <a:cubicBezTo>
                      <a:pt x="386540" y="123419"/>
                      <a:pt x="309404" y="144560"/>
                      <a:pt x="231981" y="165129"/>
                    </a:cubicBezTo>
                    <a:lnTo>
                      <a:pt x="0" y="227124"/>
                    </a:lnTo>
                    <a:lnTo>
                      <a:pt x="114848" y="191699"/>
                    </a:lnTo>
                    <a:lnTo>
                      <a:pt x="230267" y="157987"/>
                    </a:lnTo>
                    <a:cubicBezTo>
                      <a:pt x="307118" y="135703"/>
                      <a:pt x="384540" y="114848"/>
                      <a:pt x="461963" y="94564"/>
                    </a:cubicBezTo>
                    <a:cubicBezTo>
                      <a:pt x="500817" y="84850"/>
                      <a:pt x="539671" y="75422"/>
                      <a:pt x="579096" y="66566"/>
                    </a:cubicBezTo>
                    <a:cubicBezTo>
                      <a:pt x="598809" y="62281"/>
                      <a:pt x="618521" y="58281"/>
                      <a:pt x="638520" y="55138"/>
                    </a:cubicBezTo>
                    <a:cubicBezTo>
                      <a:pt x="643376" y="53996"/>
                      <a:pt x="648805" y="54281"/>
                      <a:pt x="653947" y="53710"/>
                    </a:cubicBezTo>
                    <a:lnTo>
                      <a:pt x="661661" y="53139"/>
                    </a:lnTo>
                    <a:lnTo>
                      <a:pt x="669374" y="53710"/>
                    </a:lnTo>
                    <a:cubicBezTo>
                      <a:pt x="679374" y="54281"/>
                      <a:pt x="689373" y="55424"/>
                      <a:pt x="699372" y="56567"/>
                    </a:cubicBezTo>
                    <a:cubicBezTo>
                      <a:pt x="719370" y="59138"/>
                      <a:pt x="739083" y="62281"/>
                      <a:pt x="758796" y="65709"/>
                    </a:cubicBezTo>
                    <a:cubicBezTo>
                      <a:pt x="778508" y="68852"/>
                      <a:pt x="798221" y="73137"/>
                      <a:pt x="817934" y="73423"/>
                    </a:cubicBezTo>
                    <a:cubicBezTo>
                      <a:pt x="827933" y="74280"/>
                      <a:pt x="835932" y="69137"/>
                      <a:pt x="843932" y="63138"/>
                    </a:cubicBezTo>
                    <a:cubicBezTo>
                      <a:pt x="851931" y="57138"/>
                      <a:pt x="859359" y="50567"/>
                      <a:pt x="866501" y="43711"/>
                    </a:cubicBezTo>
                    <a:cubicBezTo>
                      <a:pt x="880786" y="29998"/>
                      <a:pt x="894213" y="15142"/>
                      <a:pt x="907355" y="0"/>
                    </a:cubicBezTo>
                    <a:close/>
                  </a:path>
                </a:pathLst>
              </a:custGeom>
              <a:solidFill>
                <a:srgbClr val="286B14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34BFA165-236D-4285-B1C9-8C98413E3434}"/>
                </a:ext>
              </a:extLst>
            </p:cNvPr>
            <p:cNvSpPr/>
            <p:nvPr/>
          </p:nvSpPr>
          <p:spPr>
            <a:xfrm>
              <a:off x="6946571" y="3673546"/>
              <a:ext cx="489759" cy="301197"/>
            </a:xfrm>
            <a:custGeom>
              <a:avLst/>
              <a:gdLst>
                <a:gd name="connsiteX0" fmla="*/ 476818 w 489759"/>
                <a:gd name="connsiteY0" fmla="*/ 9142 h 301197"/>
                <a:gd name="connsiteX1" fmla="*/ 361685 w 489759"/>
                <a:gd name="connsiteY1" fmla="*/ 243123 h 301197"/>
                <a:gd name="connsiteX2" fmla="*/ 98849 w 489759"/>
                <a:gd name="connsiteY2" fmla="*/ 162844 h 301197"/>
                <a:gd name="connsiteX3" fmla="*/ 87993 w 489759"/>
                <a:gd name="connsiteY3" fmla="*/ 0 h 301197"/>
                <a:gd name="connsiteX4" fmla="*/ 0 w 489759"/>
                <a:gd name="connsiteY4" fmla="*/ 214554 h 301197"/>
                <a:gd name="connsiteX5" fmla="*/ 144560 w 489759"/>
                <a:gd name="connsiteY5" fmla="*/ 278263 h 301197"/>
                <a:gd name="connsiteX6" fmla="*/ 338830 w 489759"/>
                <a:gd name="connsiteY6" fmla="*/ 285691 h 301197"/>
                <a:gd name="connsiteX7" fmla="*/ 476818 w 489759"/>
                <a:gd name="connsiteY7" fmla="*/ 9142 h 30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9759" h="301197">
                  <a:moveTo>
                    <a:pt x="476818" y="9142"/>
                  </a:moveTo>
                  <a:cubicBezTo>
                    <a:pt x="476818" y="9142"/>
                    <a:pt x="503673" y="184271"/>
                    <a:pt x="361685" y="243123"/>
                  </a:cubicBezTo>
                  <a:cubicBezTo>
                    <a:pt x="213983" y="304547"/>
                    <a:pt x="116562" y="197984"/>
                    <a:pt x="98849" y="162844"/>
                  </a:cubicBezTo>
                  <a:cubicBezTo>
                    <a:pt x="81136" y="127704"/>
                    <a:pt x="56853" y="55995"/>
                    <a:pt x="87993" y="0"/>
                  </a:cubicBezTo>
                  <a:lnTo>
                    <a:pt x="0" y="214554"/>
                  </a:lnTo>
                  <a:cubicBezTo>
                    <a:pt x="0" y="214554"/>
                    <a:pt x="82565" y="207983"/>
                    <a:pt x="144560" y="278263"/>
                  </a:cubicBezTo>
                  <a:cubicBezTo>
                    <a:pt x="171700" y="308832"/>
                    <a:pt x="254551" y="306261"/>
                    <a:pt x="338830" y="285691"/>
                  </a:cubicBezTo>
                  <a:cubicBezTo>
                    <a:pt x="422823" y="265407"/>
                    <a:pt x="526529" y="156559"/>
                    <a:pt x="476818" y="9142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41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8037625" y="3074201"/>
              <a:ext cx="1218186" cy="210234"/>
              <a:chOff x="8037625" y="3074201"/>
              <a:chExt cx="1218186" cy="210234"/>
            </a:xfrm>
            <a:solidFill>
              <a:srgbClr val="73D927"/>
            </a:solidFill>
          </p:grpSpPr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D9F8DCB7-416F-4FBD-9512-F9715695EA44}"/>
                  </a:ext>
                </a:extLst>
              </p:cNvPr>
              <p:cNvSpPr/>
              <p:nvPr/>
            </p:nvSpPr>
            <p:spPr>
              <a:xfrm>
                <a:off x="8037625" y="3207103"/>
                <a:ext cx="76565" cy="77331"/>
              </a:xfrm>
              <a:custGeom>
                <a:avLst/>
                <a:gdLst>
                  <a:gd name="connsiteX0" fmla="*/ 0 w 76565"/>
                  <a:gd name="connsiteY0" fmla="*/ 77332 h 77331"/>
                  <a:gd name="connsiteX1" fmla="*/ 2857 w 76565"/>
                  <a:gd name="connsiteY1" fmla="*/ 8766 h 77331"/>
                  <a:gd name="connsiteX2" fmla="*/ 16856 w 76565"/>
                  <a:gd name="connsiteY2" fmla="*/ 1052 h 77331"/>
                  <a:gd name="connsiteX3" fmla="*/ 76565 w 76565"/>
                  <a:gd name="connsiteY3" fmla="*/ 30764 h 77331"/>
                  <a:gd name="connsiteX4" fmla="*/ 0 w 76565"/>
                  <a:gd name="connsiteY4" fmla="*/ 77332 h 77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65" h="77331">
                    <a:moveTo>
                      <a:pt x="0" y="77332"/>
                    </a:moveTo>
                    <a:cubicBezTo>
                      <a:pt x="286" y="54191"/>
                      <a:pt x="1143" y="31050"/>
                      <a:pt x="2857" y="8766"/>
                    </a:cubicBezTo>
                    <a:cubicBezTo>
                      <a:pt x="3428" y="2195"/>
                      <a:pt x="10856" y="-2090"/>
                      <a:pt x="16856" y="1052"/>
                    </a:cubicBezTo>
                    <a:lnTo>
                      <a:pt x="76565" y="30764"/>
                    </a:lnTo>
                    <a:cubicBezTo>
                      <a:pt x="50567" y="45334"/>
                      <a:pt x="25141" y="61047"/>
                      <a:pt x="0" y="77332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94255D8F-3B4B-4234-93D1-B4F3E3EAAF87}"/>
                  </a:ext>
                </a:extLst>
              </p:cNvPr>
              <p:cNvSpPr/>
              <p:nvPr/>
            </p:nvSpPr>
            <p:spPr>
              <a:xfrm>
                <a:off x="8114191" y="3165426"/>
                <a:ext cx="79136" cy="72441"/>
              </a:xfrm>
              <a:custGeom>
                <a:avLst/>
                <a:gdLst>
                  <a:gd name="connsiteX0" fmla="*/ 0 w 79136"/>
                  <a:gd name="connsiteY0" fmla="*/ 72441 h 72441"/>
                  <a:gd name="connsiteX1" fmla="*/ 9142 w 79136"/>
                  <a:gd name="connsiteY1" fmla="*/ 7875 h 72441"/>
                  <a:gd name="connsiteX2" fmla="*/ 23712 w 79136"/>
                  <a:gd name="connsiteY2" fmla="*/ 1018 h 72441"/>
                  <a:gd name="connsiteX3" fmla="*/ 79136 w 79136"/>
                  <a:gd name="connsiteY3" fmla="*/ 31302 h 72441"/>
                  <a:gd name="connsiteX4" fmla="*/ 0 w 79136"/>
                  <a:gd name="connsiteY4" fmla="*/ 72441 h 72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36" h="72441">
                    <a:moveTo>
                      <a:pt x="0" y="72441"/>
                    </a:moveTo>
                    <a:cubicBezTo>
                      <a:pt x="2285" y="50443"/>
                      <a:pt x="5142" y="28731"/>
                      <a:pt x="9142" y="7875"/>
                    </a:cubicBezTo>
                    <a:cubicBezTo>
                      <a:pt x="10285" y="1590"/>
                      <a:pt x="17998" y="-1838"/>
                      <a:pt x="23712" y="1018"/>
                    </a:cubicBezTo>
                    <a:cubicBezTo>
                      <a:pt x="42854" y="11303"/>
                      <a:pt x="61424" y="21303"/>
                      <a:pt x="79136" y="31302"/>
                    </a:cubicBezTo>
                    <a:cubicBezTo>
                      <a:pt x="52281" y="43872"/>
                      <a:pt x="25712" y="57585"/>
                      <a:pt x="0" y="72441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D94CBADD-EBB6-4AA8-91CE-BA1AAB398C88}"/>
                  </a:ext>
                </a:extLst>
              </p:cNvPr>
              <p:cNvSpPr/>
              <p:nvPr/>
            </p:nvSpPr>
            <p:spPr>
              <a:xfrm>
                <a:off x="8193327" y="3130007"/>
                <a:ext cx="81993" cy="66721"/>
              </a:xfrm>
              <a:custGeom>
                <a:avLst/>
                <a:gdLst>
                  <a:gd name="connsiteX0" fmla="*/ 0 w 81993"/>
                  <a:gd name="connsiteY0" fmla="*/ 66721 h 66721"/>
                  <a:gd name="connsiteX1" fmla="*/ 15713 w 81993"/>
                  <a:gd name="connsiteY1" fmla="*/ 6726 h 66721"/>
                  <a:gd name="connsiteX2" fmla="*/ 30855 w 81993"/>
                  <a:gd name="connsiteY2" fmla="*/ 1298 h 66721"/>
                  <a:gd name="connsiteX3" fmla="*/ 81993 w 81993"/>
                  <a:gd name="connsiteY3" fmla="*/ 32438 h 66721"/>
                  <a:gd name="connsiteX4" fmla="*/ 0 w 81993"/>
                  <a:gd name="connsiteY4" fmla="*/ 66721 h 6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993" h="66721">
                    <a:moveTo>
                      <a:pt x="0" y="66721"/>
                    </a:moveTo>
                    <a:cubicBezTo>
                      <a:pt x="4285" y="46151"/>
                      <a:pt x="9714" y="26439"/>
                      <a:pt x="15713" y="6726"/>
                    </a:cubicBezTo>
                    <a:cubicBezTo>
                      <a:pt x="17427" y="1012"/>
                      <a:pt x="25712" y="-1845"/>
                      <a:pt x="30855" y="1298"/>
                    </a:cubicBezTo>
                    <a:cubicBezTo>
                      <a:pt x="48568" y="11583"/>
                      <a:pt x="65709" y="22153"/>
                      <a:pt x="81993" y="32438"/>
                    </a:cubicBezTo>
                    <a:cubicBezTo>
                      <a:pt x="54281" y="42437"/>
                      <a:pt x="26855" y="53865"/>
                      <a:pt x="0" y="66721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79345103-D977-46CF-81EA-779CE124F6CB}"/>
                  </a:ext>
                </a:extLst>
              </p:cNvPr>
              <p:cNvSpPr/>
              <p:nvPr/>
            </p:nvSpPr>
            <p:spPr>
              <a:xfrm>
                <a:off x="8275320" y="3102820"/>
                <a:ext cx="85135" cy="59625"/>
              </a:xfrm>
              <a:custGeom>
                <a:avLst/>
                <a:gdLst>
                  <a:gd name="connsiteX0" fmla="*/ 0 w 85135"/>
                  <a:gd name="connsiteY0" fmla="*/ 59625 h 59625"/>
                  <a:gd name="connsiteX1" fmla="*/ 22855 w 85135"/>
                  <a:gd name="connsiteY1" fmla="*/ 5630 h 59625"/>
                  <a:gd name="connsiteX2" fmla="*/ 38568 w 85135"/>
                  <a:gd name="connsiteY2" fmla="*/ 1630 h 59625"/>
                  <a:gd name="connsiteX3" fmla="*/ 85136 w 85135"/>
                  <a:gd name="connsiteY3" fmla="*/ 33913 h 59625"/>
                  <a:gd name="connsiteX4" fmla="*/ 63709 w 85135"/>
                  <a:gd name="connsiteY4" fmla="*/ 39627 h 59625"/>
                  <a:gd name="connsiteX5" fmla="*/ 42282 w 85135"/>
                  <a:gd name="connsiteY5" fmla="*/ 45912 h 59625"/>
                  <a:gd name="connsiteX6" fmla="*/ 0 w 85135"/>
                  <a:gd name="connsiteY6" fmla="*/ 59625 h 5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35" h="59625">
                    <a:moveTo>
                      <a:pt x="0" y="59625"/>
                    </a:moveTo>
                    <a:cubicBezTo>
                      <a:pt x="6857" y="41056"/>
                      <a:pt x="14285" y="22771"/>
                      <a:pt x="22855" y="5630"/>
                    </a:cubicBezTo>
                    <a:cubicBezTo>
                      <a:pt x="25426" y="487"/>
                      <a:pt x="33712" y="-1798"/>
                      <a:pt x="38568" y="1630"/>
                    </a:cubicBezTo>
                    <a:cubicBezTo>
                      <a:pt x="54853" y="12772"/>
                      <a:pt x="70280" y="23057"/>
                      <a:pt x="85136" y="33913"/>
                    </a:cubicBezTo>
                    <a:cubicBezTo>
                      <a:pt x="77994" y="35627"/>
                      <a:pt x="70851" y="37342"/>
                      <a:pt x="63709" y="39627"/>
                    </a:cubicBezTo>
                    <a:cubicBezTo>
                      <a:pt x="56567" y="41627"/>
                      <a:pt x="49425" y="43341"/>
                      <a:pt x="42282" y="45912"/>
                    </a:cubicBezTo>
                    <a:cubicBezTo>
                      <a:pt x="27998" y="49912"/>
                      <a:pt x="13999" y="54483"/>
                      <a:pt x="0" y="59625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1643C7E0-9B95-4F5F-99AD-F2ED50A97A49}"/>
                  </a:ext>
                </a:extLst>
              </p:cNvPr>
              <p:cNvSpPr/>
              <p:nvPr/>
            </p:nvSpPr>
            <p:spPr>
              <a:xfrm>
                <a:off x="8360456" y="3085213"/>
                <a:ext cx="87707" cy="51519"/>
              </a:xfrm>
              <a:custGeom>
                <a:avLst/>
                <a:gdLst>
                  <a:gd name="connsiteX0" fmla="*/ 0 w 87707"/>
                  <a:gd name="connsiteY0" fmla="*/ 51520 h 51519"/>
                  <a:gd name="connsiteX1" fmla="*/ 29141 w 87707"/>
                  <a:gd name="connsiteY1" fmla="*/ 4095 h 51519"/>
                  <a:gd name="connsiteX2" fmla="*/ 45139 w 87707"/>
                  <a:gd name="connsiteY2" fmla="*/ 2095 h 51519"/>
                  <a:gd name="connsiteX3" fmla="*/ 87707 w 87707"/>
                  <a:gd name="connsiteY3" fmla="*/ 34950 h 51519"/>
                  <a:gd name="connsiteX4" fmla="*/ 43425 w 87707"/>
                  <a:gd name="connsiteY4" fmla="*/ 42092 h 51519"/>
                  <a:gd name="connsiteX5" fmla="*/ 21712 w 87707"/>
                  <a:gd name="connsiteY5" fmla="*/ 46377 h 51519"/>
                  <a:gd name="connsiteX6" fmla="*/ 0 w 87707"/>
                  <a:gd name="connsiteY6" fmla="*/ 51520 h 51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707" h="51519">
                    <a:moveTo>
                      <a:pt x="0" y="51520"/>
                    </a:moveTo>
                    <a:cubicBezTo>
                      <a:pt x="8856" y="34950"/>
                      <a:pt x="18856" y="19522"/>
                      <a:pt x="29141" y="4095"/>
                    </a:cubicBezTo>
                    <a:cubicBezTo>
                      <a:pt x="32283" y="-476"/>
                      <a:pt x="40854" y="-1333"/>
                      <a:pt x="45139" y="2095"/>
                    </a:cubicBezTo>
                    <a:lnTo>
                      <a:pt x="87707" y="34950"/>
                    </a:lnTo>
                    <a:cubicBezTo>
                      <a:pt x="72851" y="36664"/>
                      <a:pt x="58281" y="39806"/>
                      <a:pt x="43425" y="42092"/>
                    </a:cubicBezTo>
                    <a:cubicBezTo>
                      <a:pt x="35997" y="43235"/>
                      <a:pt x="28855" y="44949"/>
                      <a:pt x="21712" y="46377"/>
                    </a:cubicBezTo>
                    <a:cubicBezTo>
                      <a:pt x="14285" y="47806"/>
                      <a:pt x="7142" y="49520"/>
                      <a:pt x="0" y="5152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E213967B-A6C6-48C6-B074-4B45A6CA3BB1}"/>
                  </a:ext>
                </a:extLst>
              </p:cNvPr>
              <p:cNvSpPr/>
              <p:nvPr/>
            </p:nvSpPr>
            <p:spPr>
              <a:xfrm>
                <a:off x="8448164" y="3076863"/>
                <a:ext cx="89706" cy="43300"/>
              </a:xfrm>
              <a:custGeom>
                <a:avLst/>
                <a:gdLst>
                  <a:gd name="connsiteX0" fmla="*/ 0 w 89706"/>
                  <a:gd name="connsiteY0" fmla="*/ 43300 h 43300"/>
                  <a:gd name="connsiteX1" fmla="*/ 33712 w 89706"/>
                  <a:gd name="connsiteY1" fmla="*/ 3018 h 43300"/>
                  <a:gd name="connsiteX2" fmla="*/ 49710 w 89706"/>
                  <a:gd name="connsiteY2" fmla="*/ 2161 h 43300"/>
                  <a:gd name="connsiteX3" fmla="*/ 89707 w 89706"/>
                  <a:gd name="connsiteY3" fmla="*/ 33872 h 43300"/>
                  <a:gd name="connsiteX4" fmla="*/ 44854 w 89706"/>
                  <a:gd name="connsiteY4" fmla="*/ 37872 h 43300"/>
                  <a:gd name="connsiteX5" fmla="*/ 0 w 89706"/>
                  <a:gd name="connsiteY5" fmla="*/ 43300 h 43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706" h="43300">
                    <a:moveTo>
                      <a:pt x="0" y="43300"/>
                    </a:moveTo>
                    <a:cubicBezTo>
                      <a:pt x="10856" y="29301"/>
                      <a:pt x="21998" y="15588"/>
                      <a:pt x="33712" y="3018"/>
                    </a:cubicBezTo>
                    <a:cubicBezTo>
                      <a:pt x="37140" y="-696"/>
                      <a:pt x="45711" y="-982"/>
                      <a:pt x="49710" y="2161"/>
                    </a:cubicBezTo>
                    <a:lnTo>
                      <a:pt x="89707" y="33872"/>
                    </a:lnTo>
                    <a:cubicBezTo>
                      <a:pt x="74565" y="34729"/>
                      <a:pt x="59709" y="36443"/>
                      <a:pt x="44854" y="37872"/>
                    </a:cubicBezTo>
                    <a:cubicBezTo>
                      <a:pt x="29712" y="39015"/>
                      <a:pt x="14856" y="41300"/>
                      <a:pt x="0" y="4330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5F003A7C-A202-4894-B369-3F018077F962}"/>
                  </a:ext>
                </a:extLst>
              </p:cNvPr>
              <p:cNvSpPr/>
              <p:nvPr/>
            </p:nvSpPr>
            <p:spPr>
              <a:xfrm>
                <a:off x="8537585" y="3074201"/>
                <a:ext cx="90564" cy="36248"/>
              </a:xfrm>
              <a:custGeom>
                <a:avLst/>
                <a:gdLst>
                  <a:gd name="connsiteX0" fmla="*/ 0 w 90564"/>
                  <a:gd name="connsiteY0" fmla="*/ 36248 h 36248"/>
                  <a:gd name="connsiteX1" fmla="*/ 36568 w 90564"/>
                  <a:gd name="connsiteY1" fmla="*/ 2251 h 36248"/>
                  <a:gd name="connsiteX2" fmla="*/ 52567 w 90564"/>
                  <a:gd name="connsiteY2" fmla="*/ 2251 h 36248"/>
                  <a:gd name="connsiteX3" fmla="*/ 90564 w 90564"/>
                  <a:gd name="connsiteY3" fmla="*/ 31963 h 36248"/>
                  <a:gd name="connsiteX4" fmla="*/ 45425 w 90564"/>
                  <a:gd name="connsiteY4" fmla="*/ 33391 h 36248"/>
                  <a:gd name="connsiteX5" fmla="*/ 0 w 90564"/>
                  <a:gd name="connsiteY5" fmla="*/ 36248 h 36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36248">
                    <a:moveTo>
                      <a:pt x="0" y="36248"/>
                    </a:moveTo>
                    <a:cubicBezTo>
                      <a:pt x="11999" y="24249"/>
                      <a:pt x="23998" y="12822"/>
                      <a:pt x="36568" y="2251"/>
                    </a:cubicBezTo>
                    <a:cubicBezTo>
                      <a:pt x="40282" y="-892"/>
                      <a:pt x="48567" y="-606"/>
                      <a:pt x="52567" y="2251"/>
                    </a:cubicBezTo>
                    <a:cubicBezTo>
                      <a:pt x="65423" y="12822"/>
                      <a:pt x="77994" y="22249"/>
                      <a:pt x="90564" y="31963"/>
                    </a:cubicBezTo>
                    <a:cubicBezTo>
                      <a:pt x="75422" y="31963"/>
                      <a:pt x="60281" y="33106"/>
                      <a:pt x="45425" y="33391"/>
                    </a:cubicBezTo>
                    <a:cubicBezTo>
                      <a:pt x="30283" y="33963"/>
                      <a:pt x="15142" y="35106"/>
                      <a:pt x="0" y="36248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1AE89D45-FBD1-4AB7-8EF5-4A7530EE4A10}"/>
                  </a:ext>
                </a:extLst>
              </p:cNvPr>
              <p:cNvSpPr/>
              <p:nvPr/>
            </p:nvSpPr>
            <p:spPr>
              <a:xfrm>
                <a:off x="8628149" y="3076810"/>
                <a:ext cx="90564" cy="29925"/>
              </a:xfrm>
              <a:custGeom>
                <a:avLst/>
                <a:gdLst>
                  <a:gd name="connsiteX0" fmla="*/ 0 w 90564"/>
                  <a:gd name="connsiteY0" fmla="*/ 29354 h 29925"/>
                  <a:gd name="connsiteX1" fmla="*/ 38283 w 90564"/>
                  <a:gd name="connsiteY1" fmla="*/ 1642 h 29925"/>
                  <a:gd name="connsiteX2" fmla="*/ 53996 w 90564"/>
                  <a:gd name="connsiteY2" fmla="*/ 2499 h 29925"/>
                  <a:gd name="connsiteX3" fmla="*/ 90564 w 90564"/>
                  <a:gd name="connsiteY3" fmla="*/ 29925 h 29925"/>
                  <a:gd name="connsiteX4" fmla="*/ 45139 w 90564"/>
                  <a:gd name="connsiteY4" fmla="*/ 28783 h 29925"/>
                  <a:gd name="connsiteX5" fmla="*/ 0 w 90564"/>
                  <a:gd name="connsiteY5" fmla="*/ 29354 h 29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29925">
                    <a:moveTo>
                      <a:pt x="0" y="29354"/>
                    </a:moveTo>
                    <a:cubicBezTo>
                      <a:pt x="12570" y="19641"/>
                      <a:pt x="25141" y="10213"/>
                      <a:pt x="38283" y="1642"/>
                    </a:cubicBezTo>
                    <a:cubicBezTo>
                      <a:pt x="41997" y="-929"/>
                      <a:pt x="50567" y="-358"/>
                      <a:pt x="53996" y="2499"/>
                    </a:cubicBezTo>
                    <a:cubicBezTo>
                      <a:pt x="66280" y="12213"/>
                      <a:pt x="78565" y="21355"/>
                      <a:pt x="90564" y="29925"/>
                    </a:cubicBezTo>
                    <a:lnTo>
                      <a:pt x="45139" y="28783"/>
                    </a:lnTo>
                    <a:cubicBezTo>
                      <a:pt x="29998" y="28783"/>
                      <a:pt x="15142" y="29068"/>
                      <a:pt x="0" y="29354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8E6F445E-B61A-4DE0-B76C-EB96A1D50657}"/>
                  </a:ext>
                </a:extLst>
              </p:cNvPr>
              <p:cNvSpPr/>
              <p:nvPr/>
            </p:nvSpPr>
            <p:spPr>
              <a:xfrm>
                <a:off x="8718713" y="3083918"/>
                <a:ext cx="90564" cy="27674"/>
              </a:xfrm>
              <a:custGeom>
                <a:avLst/>
                <a:gdLst>
                  <a:gd name="connsiteX0" fmla="*/ 0 w 90564"/>
                  <a:gd name="connsiteY0" fmla="*/ 22532 h 27674"/>
                  <a:gd name="connsiteX1" fmla="*/ 39140 w 90564"/>
                  <a:gd name="connsiteY1" fmla="*/ 1105 h 27674"/>
                  <a:gd name="connsiteX2" fmla="*/ 54853 w 90564"/>
                  <a:gd name="connsiteY2" fmla="*/ 2533 h 27674"/>
                  <a:gd name="connsiteX3" fmla="*/ 90564 w 90564"/>
                  <a:gd name="connsiteY3" fmla="*/ 27674 h 27674"/>
                  <a:gd name="connsiteX4" fmla="*/ 45139 w 90564"/>
                  <a:gd name="connsiteY4" fmla="*/ 24532 h 27674"/>
                  <a:gd name="connsiteX5" fmla="*/ 0 w 90564"/>
                  <a:gd name="connsiteY5" fmla="*/ 22532 h 27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27674">
                    <a:moveTo>
                      <a:pt x="0" y="22532"/>
                    </a:moveTo>
                    <a:cubicBezTo>
                      <a:pt x="12856" y="14532"/>
                      <a:pt x="25998" y="7676"/>
                      <a:pt x="39140" y="1105"/>
                    </a:cubicBezTo>
                    <a:cubicBezTo>
                      <a:pt x="43139" y="-895"/>
                      <a:pt x="51424" y="-38"/>
                      <a:pt x="54853" y="2533"/>
                    </a:cubicBezTo>
                    <a:cubicBezTo>
                      <a:pt x="66852" y="11390"/>
                      <a:pt x="78565" y="19961"/>
                      <a:pt x="90564" y="27674"/>
                    </a:cubicBezTo>
                    <a:cubicBezTo>
                      <a:pt x="75422" y="26531"/>
                      <a:pt x="60281" y="25103"/>
                      <a:pt x="45139" y="24532"/>
                    </a:cubicBezTo>
                    <a:lnTo>
                      <a:pt x="0" y="22532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2E37397B-90C0-44F6-9C1F-F98076E24960}"/>
                  </a:ext>
                </a:extLst>
              </p:cNvPr>
              <p:cNvSpPr/>
              <p:nvPr/>
            </p:nvSpPr>
            <p:spPr>
              <a:xfrm>
                <a:off x="8809277" y="3095307"/>
                <a:ext cx="90564" cy="25141"/>
              </a:xfrm>
              <a:custGeom>
                <a:avLst/>
                <a:gdLst>
                  <a:gd name="connsiteX0" fmla="*/ 0 w 90564"/>
                  <a:gd name="connsiteY0" fmla="*/ 16285 h 25141"/>
                  <a:gd name="connsiteX1" fmla="*/ 39711 w 90564"/>
                  <a:gd name="connsiteY1" fmla="*/ 572 h 25141"/>
                  <a:gd name="connsiteX2" fmla="*/ 55424 w 90564"/>
                  <a:gd name="connsiteY2" fmla="*/ 2857 h 25141"/>
                  <a:gd name="connsiteX3" fmla="*/ 90564 w 90564"/>
                  <a:gd name="connsiteY3" fmla="*/ 25141 h 25141"/>
                  <a:gd name="connsiteX4" fmla="*/ 45425 w 90564"/>
                  <a:gd name="connsiteY4" fmla="*/ 20285 h 25141"/>
                  <a:gd name="connsiteX5" fmla="*/ 0 w 90564"/>
                  <a:gd name="connsiteY5" fmla="*/ 16285 h 25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25141">
                    <a:moveTo>
                      <a:pt x="0" y="16285"/>
                    </a:moveTo>
                    <a:cubicBezTo>
                      <a:pt x="13142" y="10285"/>
                      <a:pt x="26569" y="4857"/>
                      <a:pt x="39711" y="572"/>
                    </a:cubicBezTo>
                    <a:cubicBezTo>
                      <a:pt x="43711" y="-857"/>
                      <a:pt x="51996" y="572"/>
                      <a:pt x="55424" y="2857"/>
                    </a:cubicBezTo>
                    <a:cubicBezTo>
                      <a:pt x="67137" y="10857"/>
                      <a:pt x="78851" y="17999"/>
                      <a:pt x="90564" y="25141"/>
                    </a:cubicBezTo>
                    <a:cubicBezTo>
                      <a:pt x="75422" y="23142"/>
                      <a:pt x="60281" y="21999"/>
                      <a:pt x="45425" y="20285"/>
                    </a:cubicBezTo>
                    <a:cubicBezTo>
                      <a:pt x="30283" y="18570"/>
                      <a:pt x="15142" y="17142"/>
                      <a:pt x="0" y="16285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2" name="Freeform: Shape 1311">
                <a:extLst>
                  <a:ext uri="{FF2B5EF4-FFF2-40B4-BE49-F238E27FC236}">
                    <a16:creationId xmlns:a16="http://schemas.microsoft.com/office/drawing/2014/main" id="{5118083F-E29B-4950-8B68-9C02186D2959}"/>
                  </a:ext>
                </a:extLst>
              </p:cNvPr>
              <p:cNvSpPr/>
              <p:nvPr/>
            </p:nvSpPr>
            <p:spPr>
              <a:xfrm>
                <a:off x="8899841" y="3110484"/>
                <a:ext cx="89992" cy="23106"/>
              </a:xfrm>
              <a:custGeom>
                <a:avLst/>
                <a:gdLst>
                  <a:gd name="connsiteX0" fmla="*/ 0 w 89992"/>
                  <a:gd name="connsiteY0" fmla="*/ 9965 h 23106"/>
                  <a:gd name="connsiteX1" fmla="*/ 39711 w 89992"/>
                  <a:gd name="connsiteY1" fmla="*/ 251 h 23106"/>
                  <a:gd name="connsiteX2" fmla="*/ 55138 w 89992"/>
                  <a:gd name="connsiteY2" fmla="*/ 3108 h 23106"/>
                  <a:gd name="connsiteX3" fmla="*/ 89993 w 89992"/>
                  <a:gd name="connsiteY3" fmla="*/ 23107 h 23106"/>
                  <a:gd name="connsiteX4" fmla="*/ 45139 w 89992"/>
                  <a:gd name="connsiteY4" fmla="*/ 15964 h 23106"/>
                  <a:gd name="connsiteX5" fmla="*/ 0 w 89992"/>
                  <a:gd name="connsiteY5" fmla="*/ 9965 h 23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992" h="23106">
                    <a:moveTo>
                      <a:pt x="0" y="9965"/>
                    </a:moveTo>
                    <a:cubicBezTo>
                      <a:pt x="13142" y="6251"/>
                      <a:pt x="26569" y="2823"/>
                      <a:pt x="39711" y="251"/>
                    </a:cubicBezTo>
                    <a:cubicBezTo>
                      <a:pt x="43711" y="-606"/>
                      <a:pt x="51996" y="823"/>
                      <a:pt x="55138" y="3108"/>
                    </a:cubicBezTo>
                    <a:cubicBezTo>
                      <a:pt x="66566" y="10251"/>
                      <a:pt x="78279" y="17107"/>
                      <a:pt x="89993" y="23107"/>
                    </a:cubicBezTo>
                    <a:cubicBezTo>
                      <a:pt x="75137" y="20821"/>
                      <a:pt x="60281" y="17964"/>
                      <a:pt x="45139" y="15964"/>
                    </a:cubicBezTo>
                    <a:lnTo>
                      <a:pt x="0" y="9965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3" name="Freeform: Shape 1312">
                <a:extLst>
                  <a:ext uri="{FF2B5EF4-FFF2-40B4-BE49-F238E27FC236}">
                    <a16:creationId xmlns:a16="http://schemas.microsoft.com/office/drawing/2014/main" id="{74B9B805-6B23-4F26-AA06-02F6C8A5F62B}"/>
                  </a:ext>
                </a:extLst>
              </p:cNvPr>
              <p:cNvSpPr/>
              <p:nvPr/>
            </p:nvSpPr>
            <p:spPr>
              <a:xfrm>
                <a:off x="8989834" y="3129566"/>
                <a:ext cx="89706" cy="21165"/>
              </a:xfrm>
              <a:custGeom>
                <a:avLst/>
                <a:gdLst>
                  <a:gd name="connsiteX0" fmla="*/ 0 w 89706"/>
                  <a:gd name="connsiteY0" fmla="*/ 4024 h 21165"/>
                  <a:gd name="connsiteX1" fmla="*/ 39425 w 89706"/>
                  <a:gd name="connsiteY1" fmla="*/ 24 h 21165"/>
                  <a:gd name="connsiteX2" fmla="*/ 54853 w 89706"/>
                  <a:gd name="connsiteY2" fmla="*/ 3738 h 21165"/>
                  <a:gd name="connsiteX3" fmla="*/ 89707 w 89706"/>
                  <a:gd name="connsiteY3" fmla="*/ 21166 h 21165"/>
                  <a:gd name="connsiteX4" fmla="*/ 45139 w 89706"/>
                  <a:gd name="connsiteY4" fmla="*/ 12023 h 21165"/>
                  <a:gd name="connsiteX5" fmla="*/ 0 w 89706"/>
                  <a:gd name="connsiteY5" fmla="*/ 4024 h 2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706" h="21165">
                    <a:moveTo>
                      <a:pt x="0" y="4024"/>
                    </a:moveTo>
                    <a:cubicBezTo>
                      <a:pt x="13142" y="1739"/>
                      <a:pt x="26284" y="596"/>
                      <a:pt x="39425" y="24"/>
                    </a:cubicBezTo>
                    <a:cubicBezTo>
                      <a:pt x="43139" y="-261"/>
                      <a:pt x="51424" y="2024"/>
                      <a:pt x="54853" y="3738"/>
                    </a:cubicBezTo>
                    <a:cubicBezTo>
                      <a:pt x="66280" y="10024"/>
                      <a:pt x="77994" y="15452"/>
                      <a:pt x="89707" y="21166"/>
                    </a:cubicBezTo>
                    <a:cubicBezTo>
                      <a:pt x="74851" y="17737"/>
                      <a:pt x="59995" y="15166"/>
                      <a:pt x="45139" y="12023"/>
                    </a:cubicBezTo>
                    <a:cubicBezTo>
                      <a:pt x="29997" y="9166"/>
                      <a:pt x="15142" y="6310"/>
                      <a:pt x="0" y="4024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4" name="Freeform: Shape 1313">
                <a:extLst>
                  <a:ext uri="{FF2B5EF4-FFF2-40B4-BE49-F238E27FC236}">
                    <a16:creationId xmlns:a16="http://schemas.microsoft.com/office/drawing/2014/main" id="{CCB5B619-DF4D-4476-8208-95DFABB2B103}"/>
                  </a:ext>
                </a:extLst>
              </p:cNvPr>
              <p:cNvSpPr/>
              <p:nvPr/>
            </p:nvSpPr>
            <p:spPr>
              <a:xfrm>
                <a:off x="9079541" y="3150732"/>
                <a:ext cx="88564" cy="21712"/>
              </a:xfrm>
              <a:custGeom>
                <a:avLst/>
                <a:gdLst>
                  <a:gd name="connsiteX0" fmla="*/ 0 w 88564"/>
                  <a:gd name="connsiteY0" fmla="*/ 0 h 21712"/>
                  <a:gd name="connsiteX1" fmla="*/ 38568 w 88564"/>
                  <a:gd name="connsiteY1" fmla="*/ 2000 h 21712"/>
                  <a:gd name="connsiteX2" fmla="*/ 53710 w 88564"/>
                  <a:gd name="connsiteY2" fmla="*/ 6285 h 21712"/>
                  <a:gd name="connsiteX3" fmla="*/ 88564 w 88564"/>
                  <a:gd name="connsiteY3" fmla="*/ 21713 h 21712"/>
                  <a:gd name="connsiteX4" fmla="*/ 44282 w 88564"/>
                  <a:gd name="connsiteY4" fmla="*/ 10285 h 21712"/>
                  <a:gd name="connsiteX5" fmla="*/ 0 w 88564"/>
                  <a:gd name="connsiteY5" fmla="*/ 0 h 21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8564" h="21712">
                    <a:moveTo>
                      <a:pt x="0" y="0"/>
                    </a:moveTo>
                    <a:cubicBezTo>
                      <a:pt x="12856" y="0"/>
                      <a:pt x="25712" y="857"/>
                      <a:pt x="38568" y="2000"/>
                    </a:cubicBezTo>
                    <a:cubicBezTo>
                      <a:pt x="42282" y="2286"/>
                      <a:pt x="50281" y="4571"/>
                      <a:pt x="53710" y="6285"/>
                    </a:cubicBezTo>
                    <a:cubicBezTo>
                      <a:pt x="65138" y="11999"/>
                      <a:pt x="76851" y="17141"/>
                      <a:pt x="88564" y="21713"/>
                    </a:cubicBezTo>
                    <a:cubicBezTo>
                      <a:pt x="73708" y="17999"/>
                      <a:pt x="59138" y="13713"/>
                      <a:pt x="44282" y="1028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5" name="Freeform: Shape 1314">
                <a:extLst>
                  <a:ext uri="{FF2B5EF4-FFF2-40B4-BE49-F238E27FC236}">
                    <a16:creationId xmlns:a16="http://schemas.microsoft.com/office/drawing/2014/main" id="{DD957659-7640-4C0B-9235-D5EE80AFCE81}"/>
                  </a:ext>
                </a:extLst>
              </p:cNvPr>
              <p:cNvSpPr/>
              <p:nvPr/>
            </p:nvSpPr>
            <p:spPr>
              <a:xfrm>
                <a:off x="9168105" y="3172444"/>
                <a:ext cx="87707" cy="25426"/>
              </a:xfrm>
              <a:custGeom>
                <a:avLst/>
                <a:gdLst>
                  <a:gd name="connsiteX0" fmla="*/ 0 w 87707"/>
                  <a:gd name="connsiteY0" fmla="*/ 0 h 25426"/>
                  <a:gd name="connsiteX1" fmla="*/ 37140 w 87707"/>
                  <a:gd name="connsiteY1" fmla="*/ 7714 h 25426"/>
                  <a:gd name="connsiteX2" fmla="*/ 51996 w 87707"/>
                  <a:gd name="connsiteY2" fmla="*/ 12856 h 25426"/>
                  <a:gd name="connsiteX3" fmla="*/ 87707 w 87707"/>
                  <a:gd name="connsiteY3" fmla="*/ 25427 h 25426"/>
                  <a:gd name="connsiteX4" fmla="*/ 43996 w 87707"/>
                  <a:gd name="connsiteY4" fmla="*/ 12285 h 25426"/>
                  <a:gd name="connsiteX5" fmla="*/ 0 w 87707"/>
                  <a:gd name="connsiteY5" fmla="*/ 0 h 25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707" h="25426">
                    <a:moveTo>
                      <a:pt x="0" y="0"/>
                    </a:moveTo>
                    <a:cubicBezTo>
                      <a:pt x="12570" y="2000"/>
                      <a:pt x="25141" y="4000"/>
                      <a:pt x="37140" y="7714"/>
                    </a:cubicBezTo>
                    <a:cubicBezTo>
                      <a:pt x="40568" y="8571"/>
                      <a:pt x="48567" y="11428"/>
                      <a:pt x="51996" y="12856"/>
                    </a:cubicBezTo>
                    <a:cubicBezTo>
                      <a:pt x="63709" y="17713"/>
                      <a:pt x="75708" y="21713"/>
                      <a:pt x="87707" y="25427"/>
                    </a:cubicBezTo>
                    <a:lnTo>
                      <a:pt x="43996" y="12285"/>
                    </a:lnTo>
                    <a:cubicBezTo>
                      <a:pt x="29426" y="7714"/>
                      <a:pt x="14856" y="3714"/>
                      <a:pt x="0" y="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37D03ED-2340-4086-A515-F0BE9A634127}"/>
                </a:ext>
              </a:extLst>
            </p:cNvPr>
            <p:cNvSpPr/>
            <p:nvPr/>
          </p:nvSpPr>
          <p:spPr>
            <a:xfrm>
              <a:off x="9367803" y="3325575"/>
              <a:ext cx="1194236" cy="2567036"/>
            </a:xfrm>
            <a:custGeom>
              <a:avLst/>
              <a:gdLst>
                <a:gd name="connsiteX0" fmla="*/ 1189046 w 1194236"/>
                <a:gd name="connsiteY0" fmla="*/ 1975840 h 2567036"/>
                <a:gd name="connsiteX1" fmla="*/ 1021917 w 1194236"/>
                <a:gd name="connsiteY1" fmla="*/ 1020774 h 2567036"/>
                <a:gd name="connsiteX2" fmla="*/ 390540 w 1194236"/>
                <a:gd name="connsiteY2" fmla="*/ 119419 h 2567036"/>
                <a:gd name="connsiteX3" fmla="*/ 208555 w 1194236"/>
                <a:gd name="connsiteY3" fmla="*/ 0 h 2567036"/>
                <a:gd name="connsiteX4" fmla="*/ 764795 w 1194236"/>
                <a:gd name="connsiteY4" fmla="*/ 611379 h 2567036"/>
                <a:gd name="connsiteX5" fmla="*/ 1117910 w 1194236"/>
                <a:gd name="connsiteY5" fmla="*/ 1930415 h 2567036"/>
                <a:gd name="connsiteX6" fmla="*/ 884214 w 1194236"/>
                <a:gd name="connsiteY6" fmla="*/ 2355523 h 2567036"/>
                <a:gd name="connsiteX7" fmla="*/ 405967 w 1194236"/>
                <a:gd name="connsiteY7" fmla="*/ 2484941 h 2567036"/>
                <a:gd name="connsiteX8" fmla="*/ 0 w 1194236"/>
                <a:gd name="connsiteY8" fmla="*/ 2232391 h 2567036"/>
                <a:gd name="connsiteX9" fmla="*/ 432822 w 1194236"/>
                <a:gd name="connsiteY9" fmla="*/ 2560364 h 2567036"/>
                <a:gd name="connsiteX10" fmla="*/ 1189046 w 1194236"/>
                <a:gd name="connsiteY10" fmla="*/ 1975840 h 2567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4236" h="2567036">
                  <a:moveTo>
                    <a:pt x="1189046" y="1975840"/>
                  </a:moveTo>
                  <a:cubicBezTo>
                    <a:pt x="1229329" y="1615012"/>
                    <a:pt x="1021917" y="1020774"/>
                    <a:pt x="1021917" y="1020774"/>
                  </a:cubicBezTo>
                  <a:cubicBezTo>
                    <a:pt x="1021917" y="1020774"/>
                    <a:pt x="845931" y="469390"/>
                    <a:pt x="390540" y="119419"/>
                  </a:cubicBezTo>
                  <a:cubicBezTo>
                    <a:pt x="331973" y="74565"/>
                    <a:pt x="271121" y="34854"/>
                    <a:pt x="208555" y="0"/>
                  </a:cubicBezTo>
                  <a:cubicBezTo>
                    <a:pt x="402824" y="156559"/>
                    <a:pt x="598237" y="356543"/>
                    <a:pt x="764795" y="611379"/>
                  </a:cubicBezTo>
                  <a:cubicBezTo>
                    <a:pt x="868787" y="770509"/>
                    <a:pt x="1246185" y="1347891"/>
                    <a:pt x="1117910" y="1930415"/>
                  </a:cubicBezTo>
                  <a:cubicBezTo>
                    <a:pt x="1094769" y="2034978"/>
                    <a:pt x="1051058" y="2221820"/>
                    <a:pt x="884214" y="2355523"/>
                  </a:cubicBezTo>
                  <a:cubicBezTo>
                    <a:pt x="868215" y="2368379"/>
                    <a:pt x="661946" y="2528652"/>
                    <a:pt x="405967" y="2484941"/>
                  </a:cubicBezTo>
                  <a:cubicBezTo>
                    <a:pt x="184556" y="2447230"/>
                    <a:pt x="117991" y="2377807"/>
                    <a:pt x="0" y="2232391"/>
                  </a:cubicBezTo>
                  <a:cubicBezTo>
                    <a:pt x="61138" y="2386664"/>
                    <a:pt x="236838" y="2525224"/>
                    <a:pt x="432822" y="2560364"/>
                  </a:cubicBezTo>
                  <a:cubicBezTo>
                    <a:pt x="730512" y="2614074"/>
                    <a:pt x="1148764" y="2336668"/>
                    <a:pt x="1189046" y="1975840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7149A7CB-D984-4478-9833-A1318EB71E4E}"/>
                </a:ext>
              </a:extLst>
            </p:cNvPr>
            <p:cNvSpPr/>
            <p:nvPr/>
          </p:nvSpPr>
          <p:spPr>
            <a:xfrm>
              <a:off x="7016068" y="3564852"/>
              <a:ext cx="416071" cy="383670"/>
            </a:xfrm>
            <a:custGeom>
              <a:avLst/>
              <a:gdLst>
                <a:gd name="connsiteX0" fmla="*/ 412464 w 416071"/>
                <a:gd name="connsiteY0" fmla="*/ 136692 h 383670"/>
                <a:gd name="connsiteX1" fmla="*/ 377610 w 416071"/>
                <a:gd name="connsiteY1" fmla="*/ 62412 h 383670"/>
                <a:gd name="connsiteX2" fmla="*/ 310758 w 416071"/>
                <a:gd name="connsiteY2" fmla="*/ 14988 h 383670"/>
                <a:gd name="connsiteX3" fmla="*/ 233050 w 416071"/>
                <a:gd name="connsiteY3" fmla="*/ 417 h 383670"/>
                <a:gd name="connsiteX4" fmla="*/ 155914 w 416071"/>
                <a:gd name="connsiteY4" fmla="*/ 2989 h 383670"/>
                <a:gd name="connsiteX5" fmla="*/ 84205 w 416071"/>
                <a:gd name="connsiteY5" fmla="*/ 29272 h 383670"/>
                <a:gd name="connsiteX6" fmla="*/ 3355 w 416071"/>
                <a:gd name="connsiteY6" fmla="*/ 157262 h 383670"/>
                <a:gd name="connsiteX7" fmla="*/ 41637 w 416071"/>
                <a:gd name="connsiteY7" fmla="*/ 308107 h 383670"/>
                <a:gd name="connsiteX8" fmla="*/ 177055 w 416071"/>
                <a:gd name="connsiteY8" fmla="*/ 381815 h 383670"/>
                <a:gd name="connsiteX9" fmla="*/ 325900 w 416071"/>
                <a:gd name="connsiteY9" fmla="*/ 347246 h 383670"/>
                <a:gd name="connsiteX10" fmla="*/ 412179 w 416071"/>
                <a:gd name="connsiteY10" fmla="*/ 217257 h 383670"/>
                <a:gd name="connsiteX11" fmla="*/ 412464 w 416071"/>
                <a:gd name="connsiteY11" fmla="*/ 136692 h 383670"/>
                <a:gd name="connsiteX12" fmla="*/ 20210 w 416071"/>
                <a:gd name="connsiteY12" fmla="*/ 159262 h 383670"/>
                <a:gd name="connsiteX13" fmla="*/ 44208 w 416071"/>
                <a:gd name="connsiteY13" fmla="*/ 92124 h 383670"/>
                <a:gd name="connsiteX14" fmla="*/ 64493 w 416071"/>
                <a:gd name="connsiteY14" fmla="*/ 60698 h 383670"/>
                <a:gd name="connsiteX15" fmla="*/ 92490 w 416071"/>
                <a:gd name="connsiteY15" fmla="*/ 35843 h 383670"/>
                <a:gd name="connsiteX16" fmla="*/ 168770 w 416071"/>
                <a:gd name="connsiteY16" fmla="*/ 13559 h 383670"/>
                <a:gd name="connsiteX17" fmla="*/ 231050 w 416071"/>
                <a:gd name="connsiteY17" fmla="*/ 18416 h 383670"/>
                <a:gd name="connsiteX18" fmla="*/ 355040 w 416071"/>
                <a:gd name="connsiteY18" fmla="*/ 80982 h 383670"/>
                <a:gd name="connsiteX19" fmla="*/ 383038 w 416071"/>
                <a:gd name="connsiteY19" fmla="*/ 137263 h 383670"/>
                <a:gd name="connsiteX20" fmla="*/ 230765 w 416071"/>
                <a:gd name="connsiteY20" fmla="*/ 327248 h 383670"/>
                <a:gd name="connsiteX21" fmla="*/ 44494 w 416071"/>
                <a:gd name="connsiteY21" fmla="*/ 269824 h 383670"/>
                <a:gd name="connsiteX22" fmla="*/ 20210 w 416071"/>
                <a:gd name="connsiteY22" fmla="*/ 159262 h 38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6071" h="383670">
                  <a:moveTo>
                    <a:pt x="412464" y="136692"/>
                  </a:moveTo>
                  <a:cubicBezTo>
                    <a:pt x="406751" y="110123"/>
                    <a:pt x="395609" y="83839"/>
                    <a:pt x="377610" y="62412"/>
                  </a:cubicBezTo>
                  <a:cubicBezTo>
                    <a:pt x="359611" y="40985"/>
                    <a:pt x="336185" y="24701"/>
                    <a:pt x="310758" y="14988"/>
                  </a:cubicBezTo>
                  <a:cubicBezTo>
                    <a:pt x="285617" y="4703"/>
                    <a:pt x="258763" y="1274"/>
                    <a:pt x="233050" y="417"/>
                  </a:cubicBezTo>
                  <a:cubicBezTo>
                    <a:pt x="207338" y="-154"/>
                    <a:pt x="181626" y="-725"/>
                    <a:pt x="155914" y="2989"/>
                  </a:cubicBezTo>
                  <a:cubicBezTo>
                    <a:pt x="130487" y="6702"/>
                    <a:pt x="105346" y="14988"/>
                    <a:pt x="84205" y="29272"/>
                  </a:cubicBezTo>
                  <a:cubicBezTo>
                    <a:pt x="41637" y="57841"/>
                    <a:pt x="12782" y="105552"/>
                    <a:pt x="3355" y="157262"/>
                  </a:cubicBezTo>
                  <a:cubicBezTo>
                    <a:pt x="-7216" y="209257"/>
                    <a:pt x="7640" y="266967"/>
                    <a:pt x="41637" y="308107"/>
                  </a:cubicBezTo>
                  <a:cubicBezTo>
                    <a:pt x="75349" y="349818"/>
                    <a:pt x="125916" y="375815"/>
                    <a:pt x="177055" y="381815"/>
                  </a:cubicBezTo>
                  <a:cubicBezTo>
                    <a:pt x="228479" y="388672"/>
                    <a:pt x="281903" y="376387"/>
                    <a:pt x="325900" y="347246"/>
                  </a:cubicBezTo>
                  <a:cubicBezTo>
                    <a:pt x="370468" y="318677"/>
                    <a:pt x="401894" y="270110"/>
                    <a:pt x="412179" y="217257"/>
                  </a:cubicBezTo>
                  <a:cubicBezTo>
                    <a:pt x="417321" y="190973"/>
                    <a:pt x="417321" y="163547"/>
                    <a:pt x="412464" y="136692"/>
                  </a:cubicBezTo>
                  <a:close/>
                  <a:moveTo>
                    <a:pt x="20210" y="159262"/>
                  </a:moveTo>
                  <a:cubicBezTo>
                    <a:pt x="21353" y="134978"/>
                    <a:pt x="33638" y="114694"/>
                    <a:pt x="44208" y="92124"/>
                  </a:cubicBezTo>
                  <a:cubicBezTo>
                    <a:pt x="49351" y="80696"/>
                    <a:pt x="56493" y="70412"/>
                    <a:pt x="64493" y="60698"/>
                  </a:cubicBezTo>
                  <a:cubicBezTo>
                    <a:pt x="72778" y="51270"/>
                    <a:pt x="82205" y="42985"/>
                    <a:pt x="92490" y="35843"/>
                  </a:cubicBezTo>
                  <a:cubicBezTo>
                    <a:pt x="113631" y="22130"/>
                    <a:pt x="143915" y="13845"/>
                    <a:pt x="168770" y="13559"/>
                  </a:cubicBezTo>
                  <a:cubicBezTo>
                    <a:pt x="193625" y="12702"/>
                    <a:pt x="206481" y="14416"/>
                    <a:pt x="231050" y="18416"/>
                  </a:cubicBezTo>
                  <a:cubicBezTo>
                    <a:pt x="279618" y="27272"/>
                    <a:pt x="326471" y="44414"/>
                    <a:pt x="355040" y="80982"/>
                  </a:cubicBezTo>
                  <a:cubicBezTo>
                    <a:pt x="368468" y="97267"/>
                    <a:pt x="377610" y="116694"/>
                    <a:pt x="383038" y="137263"/>
                  </a:cubicBezTo>
                  <a:cubicBezTo>
                    <a:pt x="387038" y="212971"/>
                    <a:pt x="315329" y="310392"/>
                    <a:pt x="230765" y="327248"/>
                  </a:cubicBezTo>
                  <a:cubicBezTo>
                    <a:pt x="159628" y="341532"/>
                    <a:pt x="113917" y="345818"/>
                    <a:pt x="44494" y="269824"/>
                  </a:cubicBezTo>
                  <a:cubicBezTo>
                    <a:pt x="27067" y="236112"/>
                    <a:pt x="18496" y="198116"/>
                    <a:pt x="20210" y="159262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7E0CB8A1-E91D-4E1E-A18B-F72778CB89D5}"/>
                </a:ext>
              </a:extLst>
            </p:cNvPr>
            <p:cNvSpPr/>
            <p:nvPr/>
          </p:nvSpPr>
          <p:spPr>
            <a:xfrm>
              <a:off x="6802297" y="3534411"/>
              <a:ext cx="3500972" cy="1799858"/>
            </a:xfrm>
            <a:custGeom>
              <a:avLst/>
              <a:gdLst>
                <a:gd name="connsiteX0" fmla="*/ 3478004 w 3500972"/>
                <a:gd name="connsiteY0" fmla="*/ 1358465 h 1799858"/>
                <a:gd name="connsiteX1" fmla="*/ 3368299 w 3500972"/>
                <a:gd name="connsiteY1" fmla="*/ 1012493 h 1799858"/>
                <a:gd name="connsiteX2" fmla="*/ 3366870 w 3500972"/>
                <a:gd name="connsiteY2" fmla="*/ 790797 h 1799858"/>
                <a:gd name="connsiteX3" fmla="*/ 3281448 w 3500972"/>
                <a:gd name="connsiteY3" fmla="*/ 657665 h 1799858"/>
                <a:gd name="connsiteX4" fmla="*/ 3134889 w 3500972"/>
                <a:gd name="connsiteY4" fmla="*/ 294837 h 1799858"/>
                <a:gd name="connsiteX5" fmla="*/ 3101463 w 3500972"/>
                <a:gd name="connsiteY5" fmla="*/ 187132 h 1799858"/>
                <a:gd name="connsiteX6" fmla="*/ 3087464 w 3500972"/>
                <a:gd name="connsiteY6" fmla="*/ 270839 h 1799858"/>
                <a:gd name="connsiteX7" fmla="*/ 3098035 w 3500972"/>
                <a:gd name="connsiteY7" fmla="*/ 591385 h 1799858"/>
                <a:gd name="connsiteX8" fmla="*/ 3132032 w 3500972"/>
                <a:gd name="connsiteY8" fmla="*/ 715660 h 1799858"/>
                <a:gd name="connsiteX9" fmla="*/ 3029183 w 3500972"/>
                <a:gd name="connsiteY9" fmla="*/ 618525 h 1799858"/>
                <a:gd name="connsiteX10" fmla="*/ 2888338 w 3500972"/>
                <a:gd name="connsiteY10" fmla="*/ 115709 h 1799858"/>
                <a:gd name="connsiteX11" fmla="*/ 2842627 w 3500972"/>
                <a:gd name="connsiteY11" fmla="*/ 181989 h 1799858"/>
                <a:gd name="connsiteX12" fmla="*/ 2772347 w 3500972"/>
                <a:gd name="connsiteY12" fmla="*/ 441111 h 1799858"/>
                <a:gd name="connsiteX13" fmla="*/ 1878991 w 3500972"/>
                <a:gd name="connsiteY13" fmla="*/ 270839 h 1799858"/>
                <a:gd name="connsiteX14" fmla="*/ 1561588 w 3500972"/>
                <a:gd name="connsiteY14" fmla="*/ 458538 h 1799858"/>
                <a:gd name="connsiteX15" fmla="*/ 1553303 w 3500972"/>
                <a:gd name="connsiteY15" fmla="*/ 435112 h 1799858"/>
                <a:gd name="connsiteX16" fmla="*/ 1179333 w 3500972"/>
                <a:gd name="connsiteY16" fmla="*/ 424827 h 1799858"/>
                <a:gd name="connsiteX17" fmla="*/ 1124480 w 3500972"/>
                <a:gd name="connsiteY17" fmla="*/ 122851 h 1799858"/>
                <a:gd name="connsiteX18" fmla="*/ 1043915 w 3500972"/>
                <a:gd name="connsiteY18" fmla="*/ 336834 h 1799858"/>
                <a:gd name="connsiteX19" fmla="*/ 1132765 w 3500972"/>
                <a:gd name="connsiteY19" fmla="*/ 532247 h 1799858"/>
                <a:gd name="connsiteX20" fmla="*/ 1225329 w 3500972"/>
                <a:gd name="connsiteY20" fmla="*/ 547103 h 1799858"/>
                <a:gd name="connsiteX21" fmla="*/ 1294181 w 3500972"/>
                <a:gd name="connsiteY21" fmla="*/ 546817 h 1799858"/>
                <a:gd name="connsiteX22" fmla="*/ 1254470 w 3500972"/>
                <a:gd name="connsiteY22" fmla="*/ 581386 h 1799858"/>
                <a:gd name="connsiteX23" fmla="*/ 1232472 w 3500972"/>
                <a:gd name="connsiteY23" fmla="*/ 584528 h 1799858"/>
                <a:gd name="connsiteX24" fmla="*/ 984206 w 3500972"/>
                <a:gd name="connsiteY24" fmla="*/ 533389 h 1799858"/>
                <a:gd name="connsiteX25" fmla="*/ 993062 w 3500972"/>
                <a:gd name="connsiteY25" fmla="*/ 274839 h 1799858"/>
                <a:gd name="connsiteX26" fmla="*/ 1004490 w 3500972"/>
                <a:gd name="connsiteY26" fmla="*/ 210273 h 1799858"/>
                <a:gd name="connsiteX27" fmla="*/ 1035630 w 3500972"/>
                <a:gd name="connsiteY27" fmla="*/ 99139 h 1799858"/>
                <a:gd name="connsiteX28" fmla="*/ 1018203 w 3500972"/>
                <a:gd name="connsiteY28" fmla="*/ 23716 h 1799858"/>
                <a:gd name="connsiteX29" fmla="*/ 1020203 w 3500972"/>
                <a:gd name="connsiteY29" fmla="*/ 108281 h 1799858"/>
                <a:gd name="connsiteX30" fmla="*/ 994491 w 3500972"/>
                <a:gd name="connsiteY30" fmla="*/ 159991 h 1799858"/>
                <a:gd name="connsiteX31" fmla="*/ 988777 w 3500972"/>
                <a:gd name="connsiteY31" fmla="*/ 123423 h 1799858"/>
                <a:gd name="connsiteX32" fmla="*/ 958208 w 3500972"/>
                <a:gd name="connsiteY32" fmla="*/ 4 h 1799858"/>
                <a:gd name="connsiteX33" fmla="*/ 961351 w 3500972"/>
                <a:gd name="connsiteY33" fmla="*/ 248841 h 1799858"/>
                <a:gd name="connsiteX34" fmla="*/ 892785 w 3500972"/>
                <a:gd name="connsiteY34" fmla="*/ 570244 h 1799858"/>
                <a:gd name="connsiteX35" fmla="*/ 343972 w 3500972"/>
                <a:gd name="connsiteY35" fmla="*/ 598527 h 1799858"/>
                <a:gd name="connsiteX36" fmla="*/ 0 w 3500972"/>
                <a:gd name="connsiteY36" fmla="*/ 666521 h 1799858"/>
                <a:gd name="connsiteX37" fmla="*/ 167701 w 3500972"/>
                <a:gd name="connsiteY37" fmla="*/ 801082 h 1799858"/>
                <a:gd name="connsiteX38" fmla="*/ 1044487 w 3500972"/>
                <a:gd name="connsiteY38" fmla="*/ 745944 h 1799858"/>
                <a:gd name="connsiteX39" fmla="*/ 1627011 w 3500972"/>
                <a:gd name="connsiteY39" fmla="*/ 607669 h 1799858"/>
                <a:gd name="connsiteX40" fmla="*/ 2432946 w 3500972"/>
                <a:gd name="connsiteY40" fmla="*/ 703661 h 1799858"/>
                <a:gd name="connsiteX41" fmla="*/ 2585505 w 3500972"/>
                <a:gd name="connsiteY41" fmla="*/ 705661 h 1799858"/>
                <a:gd name="connsiteX42" fmla="*/ 3305447 w 3500972"/>
                <a:gd name="connsiteY42" fmla="*/ 1104486 h 1799858"/>
                <a:gd name="connsiteX43" fmla="*/ 3477433 w 3500972"/>
                <a:gd name="connsiteY43" fmla="*/ 1799858 h 1799858"/>
                <a:gd name="connsiteX44" fmla="*/ 3478004 w 3500972"/>
                <a:gd name="connsiteY44" fmla="*/ 1358465 h 179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500972" h="1799858">
                  <a:moveTo>
                    <a:pt x="3478004" y="1358465"/>
                  </a:moveTo>
                  <a:cubicBezTo>
                    <a:pt x="3452863" y="1216477"/>
                    <a:pt x="3430865" y="1107343"/>
                    <a:pt x="3368299" y="1012493"/>
                  </a:cubicBezTo>
                  <a:cubicBezTo>
                    <a:pt x="3401725" y="920215"/>
                    <a:pt x="3359156" y="832794"/>
                    <a:pt x="3366870" y="790797"/>
                  </a:cubicBezTo>
                  <a:cubicBezTo>
                    <a:pt x="3377155" y="734516"/>
                    <a:pt x="3329159" y="694519"/>
                    <a:pt x="3281448" y="657665"/>
                  </a:cubicBezTo>
                  <a:cubicBezTo>
                    <a:pt x="3233738" y="620811"/>
                    <a:pt x="3192599" y="521390"/>
                    <a:pt x="3134889" y="294837"/>
                  </a:cubicBezTo>
                  <a:cubicBezTo>
                    <a:pt x="3123747" y="250841"/>
                    <a:pt x="3112319" y="215701"/>
                    <a:pt x="3101463" y="187132"/>
                  </a:cubicBezTo>
                  <a:lnTo>
                    <a:pt x="3087464" y="270839"/>
                  </a:lnTo>
                  <a:lnTo>
                    <a:pt x="3098035" y="591385"/>
                  </a:lnTo>
                  <a:cubicBezTo>
                    <a:pt x="3098035" y="591385"/>
                    <a:pt x="3122318" y="634524"/>
                    <a:pt x="3132032" y="715660"/>
                  </a:cubicBezTo>
                  <a:cubicBezTo>
                    <a:pt x="3102034" y="684520"/>
                    <a:pt x="3067752" y="651666"/>
                    <a:pt x="3029183" y="618525"/>
                  </a:cubicBezTo>
                  <a:lnTo>
                    <a:pt x="2888338" y="115709"/>
                  </a:lnTo>
                  <a:cubicBezTo>
                    <a:pt x="2888338" y="115709"/>
                    <a:pt x="2857769" y="92568"/>
                    <a:pt x="2842627" y="181989"/>
                  </a:cubicBezTo>
                  <a:cubicBezTo>
                    <a:pt x="2827485" y="271125"/>
                    <a:pt x="2846055" y="390830"/>
                    <a:pt x="2772347" y="441111"/>
                  </a:cubicBezTo>
                  <a:cubicBezTo>
                    <a:pt x="2607503" y="351690"/>
                    <a:pt x="2235819" y="149706"/>
                    <a:pt x="1878991" y="270839"/>
                  </a:cubicBezTo>
                  <a:cubicBezTo>
                    <a:pt x="1743859" y="316836"/>
                    <a:pt x="1659580" y="392258"/>
                    <a:pt x="1561588" y="458538"/>
                  </a:cubicBezTo>
                  <a:cubicBezTo>
                    <a:pt x="1560731" y="449682"/>
                    <a:pt x="1558160" y="441683"/>
                    <a:pt x="1553303" y="435112"/>
                  </a:cubicBezTo>
                  <a:cubicBezTo>
                    <a:pt x="1503593" y="364832"/>
                    <a:pt x="1285325" y="514534"/>
                    <a:pt x="1179333" y="424827"/>
                  </a:cubicBezTo>
                  <a:cubicBezTo>
                    <a:pt x="1083055" y="343405"/>
                    <a:pt x="1158478" y="129994"/>
                    <a:pt x="1124480" y="122851"/>
                  </a:cubicBezTo>
                  <a:cubicBezTo>
                    <a:pt x="1099911" y="117709"/>
                    <a:pt x="1040487" y="223700"/>
                    <a:pt x="1043915" y="336834"/>
                  </a:cubicBezTo>
                  <a:cubicBezTo>
                    <a:pt x="1044201" y="345690"/>
                    <a:pt x="1050201" y="497107"/>
                    <a:pt x="1132765" y="532247"/>
                  </a:cubicBezTo>
                  <a:cubicBezTo>
                    <a:pt x="1155335" y="541674"/>
                    <a:pt x="1193618" y="547103"/>
                    <a:pt x="1225329" y="547103"/>
                  </a:cubicBezTo>
                  <a:cubicBezTo>
                    <a:pt x="1265040" y="547103"/>
                    <a:pt x="1290753" y="539103"/>
                    <a:pt x="1294181" y="546817"/>
                  </a:cubicBezTo>
                  <a:cubicBezTo>
                    <a:pt x="1297609" y="554531"/>
                    <a:pt x="1274183" y="567387"/>
                    <a:pt x="1254470" y="581386"/>
                  </a:cubicBezTo>
                  <a:cubicBezTo>
                    <a:pt x="1247328" y="582528"/>
                    <a:pt x="1239900" y="583385"/>
                    <a:pt x="1232472" y="584528"/>
                  </a:cubicBezTo>
                  <a:cubicBezTo>
                    <a:pt x="1180762" y="590528"/>
                    <a:pt x="1029631" y="607098"/>
                    <a:pt x="984206" y="533389"/>
                  </a:cubicBezTo>
                  <a:cubicBezTo>
                    <a:pt x="961351" y="496535"/>
                    <a:pt x="971921" y="422541"/>
                    <a:pt x="993062" y="274839"/>
                  </a:cubicBezTo>
                  <a:cubicBezTo>
                    <a:pt x="997348" y="245698"/>
                    <a:pt x="999348" y="230557"/>
                    <a:pt x="1004490" y="210273"/>
                  </a:cubicBezTo>
                  <a:cubicBezTo>
                    <a:pt x="1019060" y="151135"/>
                    <a:pt x="1034202" y="138279"/>
                    <a:pt x="1035630" y="99139"/>
                  </a:cubicBezTo>
                  <a:cubicBezTo>
                    <a:pt x="1037059" y="55714"/>
                    <a:pt x="1019917" y="23431"/>
                    <a:pt x="1018203" y="23716"/>
                  </a:cubicBezTo>
                  <a:cubicBezTo>
                    <a:pt x="1016489" y="24002"/>
                    <a:pt x="1030488" y="61999"/>
                    <a:pt x="1020203" y="108281"/>
                  </a:cubicBezTo>
                  <a:cubicBezTo>
                    <a:pt x="1014489" y="134279"/>
                    <a:pt x="1001347" y="161420"/>
                    <a:pt x="994491" y="159991"/>
                  </a:cubicBezTo>
                  <a:cubicBezTo>
                    <a:pt x="989348" y="158848"/>
                    <a:pt x="989920" y="140850"/>
                    <a:pt x="988777" y="123423"/>
                  </a:cubicBezTo>
                  <a:cubicBezTo>
                    <a:pt x="985634" y="58285"/>
                    <a:pt x="963922" y="-567"/>
                    <a:pt x="958208" y="4"/>
                  </a:cubicBezTo>
                  <a:cubicBezTo>
                    <a:pt x="950494" y="861"/>
                    <a:pt x="970207" y="112566"/>
                    <a:pt x="961351" y="248841"/>
                  </a:cubicBezTo>
                  <a:cubicBezTo>
                    <a:pt x="949352" y="429112"/>
                    <a:pt x="943352" y="519391"/>
                    <a:pt x="892785" y="570244"/>
                  </a:cubicBezTo>
                  <a:cubicBezTo>
                    <a:pt x="805935" y="657665"/>
                    <a:pt x="679945" y="579386"/>
                    <a:pt x="343972" y="598527"/>
                  </a:cubicBezTo>
                  <a:cubicBezTo>
                    <a:pt x="187985" y="607383"/>
                    <a:pt x="62852" y="615954"/>
                    <a:pt x="0" y="666521"/>
                  </a:cubicBezTo>
                  <a:cubicBezTo>
                    <a:pt x="21998" y="705947"/>
                    <a:pt x="68852" y="756800"/>
                    <a:pt x="167701" y="801082"/>
                  </a:cubicBezTo>
                  <a:cubicBezTo>
                    <a:pt x="363971" y="889361"/>
                    <a:pt x="819934" y="772227"/>
                    <a:pt x="1044487" y="745944"/>
                  </a:cubicBezTo>
                  <a:cubicBezTo>
                    <a:pt x="1269040" y="719660"/>
                    <a:pt x="1627011" y="607669"/>
                    <a:pt x="1627011" y="607669"/>
                  </a:cubicBezTo>
                  <a:cubicBezTo>
                    <a:pt x="1627011" y="607669"/>
                    <a:pt x="2269245" y="771084"/>
                    <a:pt x="2432946" y="703661"/>
                  </a:cubicBezTo>
                  <a:cubicBezTo>
                    <a:pt x="2596647" y="636238"/>
                    <a:pt x="2585505" y="705661"/>
                    <a:pt x="2585505" y="705661"/>
                  </a:cubicBezTo>
                  <a:cubicBezTo>
                    <a:pt x="2740064" y="938499"/>
                    <a:pt x="3305447" y="1104486"/>
                    <a:pt x="3305447" y="1104486"/>
                  </a:cubicBezTo>
                  <a:cubicBezTo>
                    <a:pt x="3455434" y="1260759"/>
                    <a:pt x="3495431" y="1611873"/>
                    <a:pt x="3477433" y="1799858"/>
                  </a:cubicBezTo>
                  <a:cubicBezTo>
                    <a:pt x="3508001" y="1648442"/>
                    <a:pt x="3509430" y="1536165"/>
                    <a:pt x="3478004" y="1358465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9EA4421D-C121-4582-833E-F2D7C5E7DA65}"/>
                </a:ext>
              </a:extLst>
            </p:cNvPr>
            <p:cNvSpPr/>
            <p:nvPr/>
          </p:nvSpPr>
          <p:spPr>
            <a:xfrm>
              <a:off x="8483018" y="3878965"/>
              <a:ext cx="1608441" cy="755932"/>
            </a:xfrm>
            <a:custGeom>
              <a:avLst/>
              <a:gdLst>
                <a:gd name="connsiteX0" fmla="*/ 1026203 w 1608441"/>
                <a:gd name="connsiteY0" fmla="*/ 168837 h 755932"/>
                <a:gd name="connsiteX1" fmla="*/ 292262 w 1608441"/>
                <a:gd name="connsiteY1" fmla="*/ 39705 h 755932"/>
                <a:gd name="connsiteX2" fmla="*/ 0 w 1608441"/>
                <a:gd name="connsiteY2" fmla="*/ 277400 h 755932"/>
                <a:gd name="connsiteX3" fmla="*/ 751082 w 1608441"/>
                <a:gd name="connsiteY3" fmla="*/ 359964 h 755932"/>
                <a:gd name="connsiteX4" fmla="*/ 903641 w 1608441"/>
                <a:gd name="connsiteY4" fmla="*/ 361964 h 755932"/>
                <a:gd name="connsiteX5" fmla="*/ 1608441 w 1608441"/>
                <a:gd name="connsiteY5" fmla="*/ 755932 h 755932"/>
                <a:gd name="connsiteX6" fmla="*/ 1026203 w 1608441"/>
                <a:gd name="connsiteY6" fmla="*/ 168837 h 75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8441" h="755932">
                  <a:moveTo>
                    <a:pt x="1026203" y="168837"/>
                  </a:moveTo>
                  <a:cubicBezTo>
                    <a:pt x="826504" y="66560"/>
                    <a:pt x="564240" y="-68001"/>
                    <a:pt x="292262" y="39705"/>
                  </a:cubicBezTo>
                  <a:cubicBezTo>
                    <a:pt x="148274" y="96557"/>
                    <a:pt x="54853" y="200263"/>
                    <a:pt x="0" y="277400"/>
                  </a:cubicBezTo>
                  <a:cubicBezTo>
                    <a:pt x="158844" y="315111"/>
                    <a:pt x="616521" y="415388"/>
                    <a:pt x="751082" y="359964"/>
                  </a:cubicBezTo>
                  <a:cubicBezTo>
                    <a:pt x="914783" y="292541"/>
                    <a:pt x="903641" y="361964"/>
                    <a:pt x="903641" y="361964"/>
                  </a:cubicBezTo>
                  <a:cubicBezTo>
                    <a:pt x="1043058" y="572233"/>
                    <a:pt x="1517306" y="727649"/>
                    <a:pt x="1608441" y="755932"/>
                  </a:cubicBezTo>
                  <a:cubicBezTo>
                    <a:pt x="1396173" y="364535"/>
                    <a:pt x="1043630" y="177693"/>
                    <a:pt x="1026203" y="168837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EB0398C7-9A73-49AA-8259-6CECE8A9C416}"/>
                </a:ext>
              </a:extLst>
            </p:cNvPr>
            <p:cNvSpPr/>
            <p:nvPr/>
          </p:nvSpPr>
          <p:spPr>
            <a:xfrm>
              <a:off x="8248281" y="4044285"/>
              <a:ext cx="1822607" cy="584040"/>
            </a:xfrm>
            <a:custGeom>
              <a:avLst/>
              <a:gdLst>
                <a:gd name="connsiteX0" fmla="*/ 1618910 w 1822607"/>
                <a:gd name="connsiteY0" fmla="*/ 509761 h 584040"/>
                <a:gd name="connsiteX1" fmla="*/ 1640051 w 1822607"/>
                <a:gd name="connsiteY1" fmla="*/ 518332 h 584040"/>
                <a:gd name="connsiteX2" fmla="*/ 1642908 w 1822607"/>
                <a:gd name="connsiteY2" fmla="*/ 519474 h 584040"/>
                <a:gd name="connsiteX3" fmla="*/ 1664335 w 1822607"/>
                <a:gd name="connsiteY3" fmla="*/ 527760 h 584040"/>
                <a:gd name="connsiteX4" fmla="*/ 1668906 w 1822607"/>
                <a:gd name="connsiteY4" fmla="*/ 529474 h 584040"/>
                <a:gd name="connsiteX5" fmla="*/ 1688905 w 1822607"/>
                <a:gd name="connsiteY5" fmla="*/ 537187 h 584040"/>
                <a:gd name="connsiteX6" fmla="*/ 1693476 w 1822607"/>
                <a:gd name="connsiteY6" fmla="*/ 538901 h 584040"/>
                <a:gd name="connsiteX7" fmla="*/ 1712617 w 1822607"/>
                <a:gd name="connsiteY7" fmla="*/ 546044 h 584040"/>
                <a:gd name="connsiteX8" fmla="*/ 1716617 w 1822607"/>
                <a:gd name="connsiteY8" fmla="*/ 547472 h 584040"/>
                <a:gd name="connsiteX9" fmla="*/ 1735187 w 1822607"/>
                <a:gd name="connsiteY9" fmla="*/ 554329 h 584040"/>
                <a:gd name="connsiteX10" fmla="*/ 1737758 w 1822607"/>
                <a:gd name="connsiteY10" fmla="*/ 555186 h 584040"/>
                <a:gd name="connsiteX11" fmla="*/ 1755185 w 1822607"/>
                <a:gd name="connsiteY11" fmla="*/ 561471 h 584040"/>
                <a:gd name="connsiteX12" fmla="*/ 1756613 w 1822607"/>
                <a:gd name="connsiteY12" fmla="*/ 562043 h 584040"/>
                <a:gd name="connsiteX13" fmla="*/ 1773469 w 1822607"/>
                <a:gd name="connsiteY13" fmla="*/ 567756 h 584040"/>
                <a:gd name="connsiteX14" fmla="*/ 1776040 w 1822607"/>
                <a:gd name="connsiteY14" fmla="*/ 568613 h 584040"/>
                <a:gd name="connsiteX15" fmla="*/ 1791182 w 1822607"/>
                <a:gd name="connsiteY15" fmla="*/ 573756 h 584040"/>
                <a:gd name="connsiteX16" fmla="*/ 1793468 w 1822607"/>
                <a:gd name="connsiteY16" fmla="*/ 574613 h 584040"/>
                <a:gd name="connsiteX17" fmla="*/ 1807181 w 1822607"/>
                <a:gd name="connsiteY17" fmla="*/ 579184 h 584040"/>
                <a:gd name="connsiteX18" fmla="*/ 1809180 w 1822607"/>
                <a:gd name="connsiteY18" fmla="*/ 579755 h 584040"/>
                <a:gd name="connsiteX19" fmla="*/ 1821465 w 1822607"/>
                <a:gd name="connsiteY19" fmla="*/ 583755 h 584040"/>
                <a:gd name="connsiteX20" fmla="*/ 1822322 w 1822607"/>
                <a:gd name="connsiteY20" fmla="*/ 584041 h 584040"/>
                <a:gd name="connsiteX21" fmla="*/ 1822608 w 1822607"/>
                <a:gd name="connsiteY21" fmla="*/ 584041 h 584040"/>
                <a:gd name="connsiteX22" fmla="*/ 1575771 w 1822607"/>
                <a:gd name="connsiteY22" fmla="*/ 452337 h 584040"/>
                <a:gd name="connsiteX23" fmla="*/ 1186945 w 1822607"/>
                <a:gd name="connsiteY23" fmla="*/ 216642 h 584040"/>
                <a:gd name="connsiteX24" fmla="*/ 1146663 w 1822607"/>
                <a:gd name="connsiteY24" fmla="*/ 133506 h 584040"/>
                <a:gd name="connsiteX25" fmla="*/ 966677 w 1822607"/>
                <a:gd name="connsiteY25" fmla="*/ 136363 h 584040"/>
                <a:gd name="connsiteX26" fmla="*/ 325586 w 1822607"/>
                <a:gd name="connsiteY26" fmla="*/ 90938 h 584040"/>
                <a:gd name="connsiteX27" fmla="*/ 176741 w 1822607"/>
                <a:gd name="connsiteY27" fmla="*/ 374 h 584040"/>
                <a:gd name="connsiteX28" fmla="*/ 4470 w 1822607"/>
                <a:gd name="connsiteY28" fmla="*/ 91224 h 584040"/>
                <a:gd name="connsiteX29" fmla="*/ 4755 w 1822607"/>
                <a:gd name="connsiteY29" fmla="*/ 149219 h 584040"/>
                <a:gd name="connsiteX30" fmla="*/ 180170 w 1822607"/>
                <a:gd name="connsiteY30" fmla="*/ 98651 h 584040"/>
                <a:gd name="connsiteX31" fmla="*/ 235022 w 1822607"/>
                <a:gd name="connsiteY31" fmla="*/ 112079 h 584040"/>
                <a:gd name="connsiteX32" fmla="*/ 235022 w 1822607"/>
                <a:gd name="connsiteY32" fmla="*/ 112079 h 584040"/>
                <a:gd name="connsiteX33" fmla="*/ 267020 w 1822607"/>
                <a:gd name="connsiteY33" fmla="*/ 119507 h 584040"/>
                <a:gd name="connsiteX34" fmla="*/ 268734 w 1822607"/>
                <a:gd name="connsiteY34" fmla="*/ 119793 h 584040"/>
                <a:gd name="connsiteX35" fmla="*/ 285875 w 1822607"/>
                <a:gd name="connsiteY35" fmla="*/ 123792 h 584040"/>
                <a:gd name="connsiteX36" fmla="*/ 288732 w 1822607"/>
                <a:gd name="connsiteY36" fmla="*/ 124364 h 584040"/>
                <a:gd name="connsiteX37" fmla="*/ 327015 w 1822607"/>
                <a:gd name="connsiteY37" fmla="*/ 132934 h 584040"/>
                <a:gd name="connsiteX38" fmla="*/ 330443 w 1822607"/>
                <a:gd name="connsiteY38" fmla="*/ 133791 h 584040"/>
                <a:gd name="connsiteX39" fmla="*/ 350442 w 1822607"/>
                <a:gd name="connsiteY39" fmla="*/ 138077 h 584040"/>
                <a:gd name="connsiteX40" fmla="*/ 353870 w 1822607"/>
                <a:gd name="connsiteY40" fmla="*/ 138934 h 584040"/>
                <a:gd name="connsiteX41" fmla="*/ 374154 w 1822607"/>
                <a:gd name="connsiteY41" fmla="*/ 143219 h 584040"/>
                <a:gd name="connsiteX42" fmla="*/ 376154 w 1822607"/>
                <a:gd name="connsiteY42" fmla="*/ 143505 h 584040"/>
                <a:gd name="connsiteX43" fmla="*/ 397581 w 1822607"/>
                <a:gd name="connsiteY43" fmla="*/ 148076 h 584040"/>
                <a:gd name="connsiteX44" fmla="*/ 403009 w 1822607"/>
                <a:gd name="connsiteY44" fmla="*/ 149219 h 584040"/>
                <a:gd name="connsiteX45" fmla="*/ 425007 w 1822607"/>
                <a:gd name="connsiteY45" fmla="*/ 153790 h 584040"/>
                <a:gd name="connsiteX46" fmla="*/ 429007 w 1822607"/>
                <a:gd name="connsiteY46" fmla="*/ 154647 h 584040"/>
                <a:gd name="connsiteX47" fmla="*/ 450148 w 1822607"/>
                <a:gd name="connsiteY47" fmla="*/ 158932 h 584040"/>
                <a:gd name="connsiteX48" fmla="*/ 453862 w 1822607"/>
                <a:gd name="connsiteY48" fmla="*/ 159504 h 584040"/>
                <a:gd name="connsiteX49" fmla="*/ 476717 w 1822607"/>
                <a:gd name="connsiteY49" fmla="*/ 163789 h 584040"/>
                <a:gd name="connsiteX50" fmla="*/ 482716 w 1822607"/>
                <a:gd name="connsiteY50" fmla="*/ 164932 h 584040"/>
                <a:gd name="connsiteX51" fmla="*/ 506143 w 1822607"/>
                <a:gd name="connsiteY51" fmla="*/ 169217 h 584040"/>
                <a:gd name="connsiteX52" fmla="*/ 510143 w 1822607"/>
                <a:gd name="connsiteY52" fmla="*/ 170074 h 584040"/>
                <a:gd name="connsiteX53" fmla="*/ 531570 w 1822607"/>
                <a:gd name="connsiteY53" fmla="*/ 173788 h 584040"/>
                <a:gd name="connsiteX54" fmla="*/ 536712 w 1822607"/>
                <a:gd name="connsiteY54" fmla="*/ 174645 h 584040"/>
                <a:gd name="connsiteX55" fmla="*/ 560139 w 1822607"/>
                <a:gd name="connsiteY55" fmla="*/ 178645 h 584040"/>
                <a:gd name="connsiteX56" fmla="*/ 566424 w 1822607"/>
                <a:gd name="connsiteY56" fmla="*/ 179788 h 584040"/>
                <a:gd name="connsiteX57" fmla="*/ 590422 w 1822607"/>
                <a:gd name="connsiteY57" fmla="*/ 183787 h 584040"/>
                <a:gd name="connsiteX58" fmla="*/ 593850 w 1822607"/>
                <a:gd name="connsiteY58" fmla="*/ 184359 h 584040"/>
                <a:gd name="connsiteX59" fmla="*/ 615849 w 1822607"/>
                <a:gd name="connsiteY59" fmla="*/ 187787 h 584040"/>
                <a:gd name="connsiteX60" fmla="*/ 621848 w 1822607"/>
                <a:gd name="connsiteY60" fmla="*/ 188644 h 584040"/>
                <a:gd name="connsiteX61" fmla="*/ 645561 w 1822607"/>
                <a:gd name="connsiteY61" fmla="*/ 192072 h 584040"/>
                <a:gd name="connsiteX62" fmla="*/ 651560 w 1822607"/>
                <a:gd name="connsiteY62" fmla="*/ 192930 h 584040"/>
                <a:gd name="connsiteX63" fmla="*/ 674701 w 1822607"/>
                <a:gd name="connsiteY63" fmla="*/ 196072 h 584040"/>
                <a:gd name="connsiteX64" fmla="*/ 676987 w 1822607"/>
                <a:gd name="connsiteY64" fmla="*/ 196358 h 584040"/>
                <a:gd name="connsiteX65" fmla="*/ 700413 w 1822607"/>
                <a:gd name="connsiteY65" fmla="*/ 199215 h 584040"/>
                <a:gd name="connsiteX66" fmla="*/ 706127 w 1822607"/>
                <a:gd name="connsiteY66" fmla="*/ 199786 h 584040"/>
                <a:gd name="connsiteX67" fmla="*/ 729268 w 1822607"/>
                <a:gd name="connsiteY67" fmla="*/ 202357 h 584040"/>
                <a:gd name="connsiteX68" fmla="*/ 734411 w 1822607"/>
                <a:gd name="connsiteY68" fmla="*/ 202929 h 584040"/>
                <a:gd name="connsiteX69" fmla="*/ 755837 w 1822607"/>
                <a:gd name="connsiteY69" fmla="*/ 204929 h 584040"/>
                <a:gd name="connsiteX70" fmla="*/ 758694 w 1822607"/>
                <a:gd name="connsiteY70" fmla="*/ 205214 h 584040"/>
                <a:gd name="connsiteX71" fmla="*/ 781264 w 1822607"/>
                <a:gd name="connsiteY71" fmla="*/ 207214 h 584040"/>
                <a:gd name="connsiteX72" fmla="*/ 786692 w 1822607"/>
                <a:gd name="connsiteY72" fmla="*/ 207500 h 584040"/>
                <a:gd name="connsiteX73" fmla="*/ 808404 w 1822607"/>
                <a:gd name="connsiteY73" fmla="*/ 208928 h 584040"/>
                <a:gd name="connsiteX74" fmla="*/ 812404 w 1822607"/>
                <a:gd name="connsiteY74" fmla="*/ 209214 h 584040"/>
                <a:gd name="connsiteX75" fmla="*/ 832117 w 1822607"/>
                <a:gd name="connsiteY75" fmla="*/ 210071 h 584040"/>
                <a:gd name="connsiteX76" fmla="*/ 835259 w 1822607"/>
                <a:gd name="connsiteY76" fmla="*/ 210071 h 584040"/>
                <a:gd name="connsiteX77" fmla="*/ 855543 w 1822607"/>
                <a:gd name="connsiteY77" fmla="*/ 210642 h 584040"/>
                <a:gd name="connsiteX78" fmla="*/ 860114 w 1822607"/>
                <a:gd name="connsiteY78" fmla="*/ 210642 h 584040"/>
                <a:gd name="connsiteX79" fmla="*/ 879827 w 1822607"/>
                <a:gd name="connsiteY79" fmla="*/ 210642 h 584040"/>
                <a:gd name="connsiteX80" fmla="*/ 882399 w 1822607"/>
                <a:gd name="connsiteY80" fmla="*/ 210642 h 584040"/>
                <a:gd name="connsiteX81" fmla="*/ 899825 w 1822607"/>
                <a:gd name="connsiteY81" fmla="*/ 210071 h 584040"/>
                <a:gd name="connsiteX82" fmla="*/ 902968 w 1822607"/>
                <a:gd name="connsiteY82" fmla="*/ 209785 h 584040"/>
                <a:gd name="connsiteX83" fmla="*/ 920110 w 1822607"/>
                <a:gd name="connsiteY83" fmla="*/ 208357 h 584040"/>
                <a:gd name="connsiteX84" fmla="*/ 923824 w 1822607"/>
                <a:gd name="connsiteY84" fmla="*/ 208071 h 584040"/>
                <a:gd name="connsiteX85" fmla="*/ 940108 w 1822607"/>
                <a:gd name="connsiteY85" fmla="*/ 206071 h 584040"/>
                <a:gd name="connsiteX86" fmla="*/ 941251 w 1822607"/>
                <a:gd name="connsiteY86" fmla="*/ 205786 h 584040"/>
                <a:gd name="connsiteX87" fmla="*/ 955535 w 1822607"/>
                <a:gd name="connsiteY87" fmla="*/ 203214 h 584040"/>
                <a:gd name="connsiteX88" fmla="*/ 958392 w 1822607"/>
                <a:gd name="connsiteY88" fmla="*/ 202643 h 584040"/>
                <a:gd name="connsiteX89" fmla="*/ 971534 w 1822607"/>
                <a:gd name="connsiteY89" fmla="*/ 199215 h 584040"/>
                <a:gd name="connsiteX90" fmla="*/ 974105 w 1822607"/>
                <a:gd name="connsiteY90" fmla="*/ 198358 h 584040"/>
                <a:gd name="connsiteX91" fmla="*/ 986390 w 1822607"/>
                <a:gd name="connsiteY91" fmla="*/ 194072 h 584040"/>
                <a:gd name="connsiteX92" fmla="*/ 1138949 w 1822607"/>
                <a:gd name="connsiteY92" fmla="*/ 196072 h 584040"/>
                <a:gd name="connsiteX93" fmla="*/ 1152091 w 1822607"/>
                <a:gd name="connsiteY93" fmla="*/ 214356 h 584040"/>
                <a:gd name="connsiteX94" fmla="*/ 1153805 w 1822607"/>
                <a:gd name="connsiteY94" fmla="*/ 216356 h 584040"/>
                <a:gd name="connsiteX95" fmla="*/ 1167804 w 1822607"/>
                <a:gd name="connsiteY95" fmla="*/ 233212 h 584040"/>
                <a:gd name="connsiteX96" fmla="*/ 1170375 w 1822607"/>
                <a:gd name="connsiteY96" fmla="*/ 236069 h 584040"/>
                <a:gd name="connsiteX97" fmla="*/ 1185517 w 1822607"/>
                <a:gd name="connsiteY97" fmla="*/ 252353 h 584040"/>
                <a:gd name="connsiteX98" fmla="*/ 1188374 w 1822607"/>
                <a:gd name="connsiteY98" fmla="*/ 255210 h 584040"/>
                <a:gd name="connsiteX99" fmla="*/ 1205229 w 1822607"/>
                <a:gd name="connsiteY99" fmla="*/ 271495 h 584040"/>
                <a:gd name="connsiteX100" fmla="*/ 1207801 w 1822607"/>
                <a:gd name="connsiteY100" fmla="*/ 273780 h 584040"/>
                <a:gd name="connsiteX101" fmla="*/ 1226656 w 1822607"/>
                <a:gd name="connsiteY101" fmla="*/ 290350 h 584040"/>
                <a:gd name="connsiteX102" fmla="*/ 1227228 w 1822607"/>
                <a:gd name="connsiteY102" fmla="*/ 290922 h 584040"/>
                <a:gd name="connsiteX103" fmla="*/ 1246940 w 1822607"/>
                <a:gd name="connsiteY103" fmla="*/ 306920 h 584040"/>
                <a:gd name="connsiteX104" fmla="*/ 1249226 w 1822607"/>
                <a:gd name="connsiteY104" fmla="*/ 308920 h 584040"/>
                <a:gd name="connsiteX105" fmla="*/ 1269510 w 1822607"/>
                <a:gd name="connsiteY105" fmla="*/ 324062 h 584040"/>
                <a:gd name="connsiteX106" fmla="*/ 1273224 w 1822607"/>
                <a:gd name="connsiteY106" fmla="*/ 326919 h 584040"/>
                <a:gd name="connsiteX107" fmla="*/ 1293794 w 1822607"/>
                <a:gd name="connsiteY107" fmla="*/ 341489 h 584040"/>
                <a:gd name="connsiteX108" fmla="*/ 1297793 w 1822607"/>
                <a:gd name="connsiteY108" fmla="*/ 344346 h 584040"/>
                <a:gd name="connsiteX109" fmla="*/ 1319220 w 1822607"/>
                <a:gd name="connsiteY109" fmla="*/ 358630 h 584040"/>
                <a:gd name="connsiteX110" fmla="*/ 1322934 w 1822607"/>
                <a:gd name="connsiteY110" fmla="*/ 360916 h 584040"/>
                <a:gd name="connsiteX111" fmla="*/ 1345789 w 1822607"/>
                <a:gd name="connsiteY111" fmla="*/ 375200 h 584040"/>
                <a:gd name="connsiteX112" fmla="*/ 1347504 w 1822607"/>
                <a:gd name="connsiteY112" fmla="*/ 376343 h 584040"/>
                <a:gd name="connsiteX113" fmla="*/ 1370359 w 1822607"/>
                <a:gd name="connsiteY113" fmla="*/ 390056 h 584040"/>
                <a:gd name="connsiteX114" fmla="*/ 1373501 w 1822607"/>
                <a:gd name="connsiteY114" fmla="*/ 391771 h 584040"/>
                <a:gd name="connsiteX115" fmla="*/ 1396928 w 1822607"/>
                <a:gd name="connsiteY115" fmla="*/ 404912 h 584040"/>
                <a:gd name="connsiteX116" fmla="*/ 1401499 w 1822607"/>
                <a:gd name="connsiteY116" fmla="*/ 407484 h 584040"/>
                <a:gd name="connsiteX117" fmla="*/ 1424640 w 1822607"/>
                <a:gd name="connsiteY117" fmla="*/ 419768 h 584040"/>
                <a:gd name="connsiteX118" fmla="*/ 1429497 w 1822607"/>
                <a:gd name="connsiteY118" fmla="*/ 422340 h 584040"/>
                <a:gd name="connsiteX119" fmla="*/ 1452638 w 1822607"/>
                <a:gd name="connsiteY119" fmla="*/ 434339 h 584040"/>
                <a:gd name="connsiteX120" fmla="*/ 1457209 w 1822607"/>
                <a:gd name="connsiteY120" fmla="*/ 436624 h 584040"/>
                <a:gd name="connsiteX121" fmla="*/ 1481207 w 1822607"/>
                <a:gd name="connsiteY121" fmla="*/ 448623 h 584040"/>
                <a:gd name="connsiteX122" fmla="*/ 1484064 w 1822607"/>
                <a:gd name="connsiteY122" fmla="*/ 450052 h 584040"/>
                <a:gd name="connsiteX123" fmla="*/ 1507491 w 1822607"/>
                <a:gd name="connsiteY123" fmla="*/ 461193 h 584040"/>
                <a:gd name="connsiteX124" fmla="*/ 1510919 w 1822607"/>
                <a:gd name="connsiteY124" fmla="*/ 462622 h 584040"/>
                <a:gd name="connsiteX125" fmla="*/ 1534631 w 1822607"/>
                <a:gd name="connsiteY125" fmla="*/ 473478 h 584040"/>
                <a:gd name="connsiteX126" fmla="*/ 1539488 w 1822607"/>
                <a:gd name="connsiteY126" fmla="*/ 475764 h 584040"/>
                <a:gd name="connsiteX127" fmla="*/ 1562343 w 1822607"/>
                <a:gd name="connsiteY127" fmla="*/ 485763 h 584040"/>
                <a:gd name="connsiteX128" fmla="*/ 1567486 w 1822607"/>
                <a:gd name="connsiteY128" fmla="*/ 488048 h 584040"/>
                <a:gd name="connsiteX129" fmla="*/ 1589770 w 1822607"/>
                <a:gd name="connsiteY129" fmla="*/ 497762 h 584040"/>
                <a:gd name="connsiteX130" fmla="*/ 1594627 w 1822607"/>
                <a:gd name="connsiteY130" fmla="*/ 499762 h 584040"/>
                <a:gd name="connsiteX131" fmla="*/ 1617196 w 1822607"/>
                <a:gd name="connsiteY131" fmla="*/ 509190 h 584040"/>
                <a:gd name="connsiteX132" fmla="*/ 1618910 w 1822607"/>
                <a:gd name="connsiteY132" fmla="*/ 509761 h 58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1822607" h="584040">
                  <a:moveTo>
                    <a:pt x="1618910" y="509761"/>
                  </a:moveTo>
                  <a:cubicBezTo>
                    <a:pt x="1626053" y="512618"/>
                    <a:pt x="1633195" y="515475"/>
                    <a:pt x="1640051" y="518332"/>
                  </a:cubicBezTo>
                  <a:cubicBezTo>
                    <a:pt x="1640908" y="518617"/>
                    <a:pt x="1642051" y="519189"/>
                    <a:pt x="1642908" y="519474"/>
                  </a:cubicBezTo>
                  <a:cubicBezTo>
                    <a:pt x="1650051" y="522331"/>
                    <a:pt x="1657193" y="525188"/>
                    <a:pt x="1664335" y="527760"/>
                  </a:cubicBezTo>
                  <a:cubicBezTo>
                    <a:pt x="1665764" y="528331"/>
                    <a:pt x="1667192" y="528902"/>
                    <a:pt x="1668906" y="529474"/>
                  </a:cubicBezTo>
                  <a:cubicBezTo>
                    <a:pt x="1675763" y="532045"/>
                    <a:pt x="1682334" y="534616"/>
                    <a:pt x="1688905" y="537187"/>
                  </a:cubicBezTo>
                  <a:cubicBezTo>
                    <a:pt x="1690333" y="537759"/>
                    <a:pt x="1692047" y="538330"/>
                    <a:pt x="1693476" y="538901"/>
                  </a:cubicBezTo>
                  <a:cubicBezTo>
                    <a:pt x="1700046" y="541473"/>
                    <a:pt x="1706332" y="543758"/>
                    <a:pt x="1712617" y="546044"/>
                  </a:cubicBezTo>
                  <a:cubicBezTo>
                    <a:pt x="1714045" y="546615"/>
                    <a:pt x="1715188" y="546901"/>
                    <a:pt x="1716617" y="547472"/>
                  </a:cubicBezTo>
                  <a:cubicBezTo>
                    <a:pt x="1722902" y="549758"/>
                    <a:pt x="1729187" y="552043"/>
                    <a:pt x="1735187" y="554329"/>
                  </a:cubicBezTo>
                  <a:cubicBezTo>
                    <a:pt x="1736044" y="554614"/>
                    <a:pt x="1736901" y="554900"/>
                    <a:pt x="1737758" y="555186"/>
                  </a:cubicBezTo>
                  <a:cubicBezTo>
                    <a:pt x="1743757" y="557186"/>
                    <a:pt x="1749471" y="559471"/>
                    <a:pt x="1755185" y="561471"/>
                  </a:cubicBezTo>
                  <a:cubicBezTo>
                    <a:pt x="1755756" y="561757"/>
                    <a:pt x="1756042" y="561757"/>
                    <a:pt x="1756613" y="562043"/>
                  </a:cubicBezTo>
                  <a:cubicBezTo>
                    <a:pt x="1762327" y="564042"/>
                    <a:pt x="1768041" y="566042"/>
                    <a:pt x="1773469" y="567756"/>
                  </a:cubicBezTo>
                  <a:cubicBezTo>
                    <a:pt x="1774326" y="568042"/>
                    <a:pt x="1775183" y="568328"/>
                    <a:pt x="1776040" y="568613"/>
                  </a:cubicBezTo>
                  <a:cubicBezTo>
                    <a:pt x="1781183" y="570327"/>
                    <a:pt x="1786325" y="572042"/>
                    <a:pt x="1791182" y="573756"/>
                  </a:cubicBezTo>
                  <a:cubicBezTo>
                    <a:pt x="1792039" y="574041"/>
                    <a:pt x="1792896" y="574327"/>
                    <a:pt x="1793468" y="574613"/>
                  </a:cubicBezTo>
                  <a:cubicBezTo>
                    <a:pt x="1798324" y="576327"/>
                    <a:pt x="1802895" y="577755"/>
                    <a:pt x="1807181" y="579184"/>
                  </a:cubicBezTo>
                  <a:cubicBezTo>
                    <a:pt x="1807752" y="579470"/>
                    <a:pt x="1808323" y="579470"/>
                    <a:pt x="1809180" y="579755"/>
                  </a:cubicBezTo>
                  <a:cubicBezTo>
                    <a:pt x="1813466" y="581184"/>
                    <a:pt x="1817751" y="582612"/>
                    <a:pt x="1821465" y="583755"/>
                  </a:cubicBezTo>
                  <a:cubicBezTo>
                    <a:pt x="1821751" y="583755"/>
                    <a:pt x="1822037" y="584041"/>
                    <a:pt x="1822322" y="584041"/>
                  </a:cubicBezTo>
                  <a:cubicBezTo>
                    <a:pt x="1822322" y="584041"/>
                    <a:pt x="1822608" y="584041"/>
                    <a:pt x="1822608" y="584041"/>
                  </a:cubicBezTo>
                  <a:cubicBezTo>
                    <a:pt x="1781183" y="550043"/>
                    <a:pt x="1710046" y="512904"/>
                    <a:pt x="1575771" y="452337"/>
                  </a:cubicBezTo>
                  <a:cubicBezTo>
                    <a:pt x="1318078" y="336346"/>
                    <a:pt x="1208944" y="312063"/>
                    <a:pt x="1186945" y="216642"/>
                  </a:cubicBezTo>
                  <a:cubicBezTo>
                    <a:pt x="1182660" y="197786"/>
                    <a:pt x="1177803" y="158361"/>
                    <a:pt x="1146663" y="133506"/>
                  </a:cubicBezTo>
                  <a:cubicBezTo>
                    <a:pt x="1095810" y="93223"/>
                    <a:pt x="1014102" y="122364"/>
                    <a:pt x="966677" y="136363"/>
                  </a:cubicBezTo>
                  <a:cubicBezTo>
                    <a:pt x="799262" y="185502"/>
                    <a:pt x="497287" y="212357"/>
                    <a:pt x="325586" y="90938"/>
                  </a:cubicBezTo>
                  <a:cubicBezTo>
                    <a:pt x="268162" y="50084"/>
                    <a:pt x="242165" y="4945"/>
                    <a:pt x="176741" y="374"/>
                  </a:cubicBezTo>
                  <a:cubicBezTo>
                    <a:pt x="107033" y="-4483"/>
                    <a:pt x="23325" y="38656"/>
                    <a:pt x="4470" y="91224"/>
                  </a:cubicBezTo>
                  <a:cubicBezTo>
                    <a:pt x="-1816" y="108365"/>
                    <a:pt x="-1244" y="128078"/>
                    <a:pt x="4755" y="149219"/>
                  </a:cubicBezTo>
                  <a:cubicBezTo>
                    <a:pt x="106176" y="121507"/>
                    <a:pt x="180170" y="98651"/>
                    <a:pt x="180170" y="98651"/>
                  </a:cubicBezTo>
                  <a:cubicBezTo>
                    <a:pt x="180170" y="98651"/>
                    <a:pt x="200739" y="103794"/>
                    <a:pt x="235022" y="112079"/>
                  </a:cubicBezTo>
                  <a:cubicBezTo>
                    <a:pt x="235022" y="112079"/>
                    <a:pt x="235022" y="112079"/>
                    <a:pt x="235022" y="112079"/>
                  </a:cubicBezTo>
                  <a:cubicBezTo>
                    <a:pt x="244736" y="114364"/>
                    <a:pt x="255306" y="116936"/>
                    <a:pt x="267020" y="119507"/>
                  </a:cubicBezTo>
                  <a:cubicBezTo>
                    <a:pt x="267591" y="119507"/>
                    <a:pt x="268162" y="119793"/>
                    <a:pt x="268734" y="119793"/>
                  </a:cubicBezTo>
                  <a:cubicBezTo>
                    <a:pt x="274162" y="120935"/>
                    <a:pt x="279876" y="122364"/>
                    <a:pt x="285875" y="123792"/>
                  </a:cubicBezTo>
                  <a:cubicBezTo>
                    <a:pt x="286732" y="124078"/>
                    <a:pt x="287589" y="124078"/>
                    <a:pt x="288732" y="124364"/>
                  </a:cubicBezTo>
                  <a:cubicBezTo>
                    <a:pt x="300731" y="127221"/>
                    <a:pt x="313587" y="130077"/>
                    <a:pt x="327015" y="132934"/>
                  </a:cubicBezTo>
                  <a:cubicBezTo>
                    <a:pt x="328158" y="133220"/>
                    <a:pt x="329300" y="133506"/>
                    <a:pt x="330443" y="133791"/>
                  </a:cubicBezTo>
                  <a:cubicBezTo>
                    <a:pt x="337014" y="135220"/>
                    <a:pt x="343585" y="136648"/>
                    <a:pt x="350442" y="138077"/>
                  </a:cubicBezTo>
                  <a:cubicBezTo>
                    <a:pt x="351584" y="138363"/>
                    <a:pt x="352727" y="138648"/>
                    <a:pt x="353870" y="138934"/>
                  </a:cubicBezTo>
                  <a:cubicBezTo>
                    <a:pt x="360441" y="140362"/>
                    <a:pt x="367297" y="141791"/>
                    <a:pt x="374154" y="143219"/>
                  </a:cubicBezTo>
                  <a:cubicBezTo>
                    <a:pt x="374725" y="143219"/>
                    <a:pt x="375297" y="143505"/>
                    <a:pt x="376154" y="143505"/>
                  </a:cubicBezTo>
                  <a:cubicBezTo>
                    <a:pt x="383296" y="144933"/>
                    <a:pt x="390438" y="146362"/>
                    <a:pt x="397581" y="148076"/>
                  </a:cubicBezTo>
                  <a:cubicBezTo>
                    <a:pt x="399295" y="148362"/>
                    <a:pt x="401295" y="148933"/>
                    <a:pt x="403009" y="149219"/>
                  </a:cubicBezTo>
                  <a:cubicBezTo>
                    <a:pt x="410151" y="150647"/>
                    <a:pt x="417579" y="152076"/>
                    <a:pt x="425007" y="153790"/>
                  </a:cubicBezTo>
                  <a:cubicBezTo>
                    <a:pt x="426150" y="154076"/>
                    <a:pt x="427578" y="154361"/>
                    <a:pt x="429007" y="154647"/>
                  </a:cubicBezTo>
                  <a:cubicBezTo>
                    <a:pt x="435863" y="156075"/>
                    <a:pt x="443005" y="157504"/>
                    <a:pt x="450148" y="158932"/>
                  </a:cubicBezTo>
                  <a:cubicBezTo>
                    <a:pt x="451290" y="159218"/>
                    <a:pt x="452433" y="159504"/>
                    <a:pt x="453862" y="159504"/>
                  </a:cubicBezTo>
                  <a:cubicBezTo>
                    <a:pt x="461575" y="160932"/>
                    <a:pt x="469003" y="162361"/>
                    <a:pt x="476717" y="163789"/>
                  </a:cubicBezTo>
                  <a:cubicBezTo>
                    <a:pt x="478717" y="164075"/>
                    <a:pt x="480717" y="164646"/>
                    <a:pt x="482716" y="164932"/>
                  </a:cubicBezTo>
                  <a:cubicBezTo>
                    <a:pt x="490430" y="166360"/>
                    <a:pt x="498144" y="167789"/>
                    <a:pt x="506143" y="169217"/>
                  </a:cubicBezTo>
                  <a:cubicBezTo>
                    <a:pt x="507572" y="169503"/>
                    <a:pt x="508714" y="169789"/>
                    <a:pt x="510143" y="170074"/>
                  </a:cubicBezTo>
                  <a:cubicBezTo>
                    <a:pt x="517285" y="171503"/>
                    <a:pt x="524427" y="172645"/>
                    <a:pt x="531570" y="173788"/>
                  </a:cubicBezTo>
                  <a:cubicBezTo>
                    <a:pt x="533284" y="174074"/>
                    <a:pt x="534998" y="174360"/>
                    <a:pt x="536712" y="174645"/>
                  </a:cubicBezTo>
                  <a:cubicBezTo>
                    <a:pt x="544426" y="176074"/>
                    <a:pt x="552425" y="177502"/>
                    <a:pt x="560139" y="178645"/>
                  </a:cubicBezTo>
                  <a:cubicBezTo>
                    <a:pt x="562139" y="178931"/>
                    <a:pt x="564424" y="179216"/>
                    <a:pt x="566424" y="179788"/>
                  </a:cubicBezTo>
                  <a:cubicBezTo>
                    <a:pt x="574423" y="181216"/>
                    <a:pt x="582423" y="182359"/>
                    <a:pt x="590422" y="183787"/>
                  </a:cubicBezTo>
                  <a:cubicBezTo>
                    <a:pt x="591565" y="184073"/>
                    <a:pt x="592708" y="184073"/>
                    <a:pt x="593850" y="184359"/>
                  </a:cubicBezTo>
                  <a:cubicBezTo>
                    <a:pt x="601278" y="185502"/>
                    <a:pt x="608421" y="186644"/>
                    <a:pt x="615849" y="187787"/>
                  </a:cubicBezTo>
                  <a:cubicBezTo>
                    <a:pt x="617848" y="188073"/>
                    <a:pt x="619848" y="188358"/>
                    <a:pt x="621848" y="188644"/>
                  </a:cubicBezTo>
                  <a:cubicBezTo>
                    <a:pt x="629847" y="189787"/>
                    <a:pt x="637561" y="190930"/>
                    <a:pt x="645561" y="192072"/>
                  </a:cubicBezTo>
                  <a:cubicBezTo>
                    <a:pt x="647560" y="192358"/>
                    <a:pt x="649560" y="192644"/>
                    <a:pt x="651560" y="192930"/>
                  </a:cubicBezTo>
                  <a:cubicBezTo>
                    <a:pt x="659274" y="194072"/>
                    <a:pt x="666987" y="195215"/>
                    <a:pt x="674701" y="196072"/>
                  </a:cubicBezTo>
                  <a:cubicBezTo>
                    <a:pt x="675558" y="196072"/>
                    <a:pt x="676129" y="196358"/>
                    <a:pt x="676987" y="196358"/>
                  </a:cubicBezTo>
                  <a:cubicBezTo>
                    <a:pt x="684986" y="197501"/>
                    <a:pt x="692699" y="198358"/>
                    <a:pt x="700413" y="199215"/>
                  </a:cubicBezTo>
                  <a:cubicBezTo>
                    <a:pt x="702413" y="199500"/>
                    <a:pt x="704127" y="199786"/>
                    <a:pt x="706127" y="199786"/>
                  </a:cubicBezTo>
                  <a:cubicBezTo>
                    <a:pt x="713841" y="200643"/>
                    <a:pt x="721554" y="201500"/>
                    <a:pt x="729268" y="202357"/>
                  </a:cubicBezTo>
                  <a:cubicBezTo>
                    <a:pt x="730982" y="202643"/>
                    <a:pt x="732696" y="202643"/>
                    <a:pt x="734411" y="202929"/>
                  </a:cubicBezTo>
                  <a:cubicBezTo>
                    <a:pt x="741553" y="203786"/>
                    <a:pt x="748695" y="204357"/>
                    <a:pt x="755837" y="204929"/>
                  </a:cubicBezTo>
                  <a:cubicBezTo>
                    <a:pt x="756694" y="204929"/>
                    <a:pt x="757551" y="205214"/>
                    <a:pt x="758694" y="205214"/>
                  </a:cubicBezTo>
                  <a:cubicBezTo>
                    <a:pt x="766408" y="205786"/>
                    <a:pt x="773836" y="206643"/>
                    <a:pt x="781264" y="207214"/>
                  </a:cubicBezTo>
                  <a:cubicBezTo>
                    <a:pt x="782978" y="207214"/>
                    <a:pt x="784978" y="207500"/>
                    <a:pt x="786692" y="207500"/>
                  </a:cubicBezTo>
                  <a:cubicBezTo>
                    <a:pt x="794120" y="208071"/>
                    <a:pt x="801262" y="208642"/>
                    <a:pt x="808404" y="208928"/>
                  </a:cubicBezTo>
                  <a:cubicBezTo>
                    <a:pt x="809833" y="208928"/>
                    <a:pt x="810976" y="208928"/>
                    <a:pt x="812404" y="209214"/>
                  </a:cubicBezTo>
                  <a:cubicBezTo>
                    <a:pt x="818975" y="209500"/>
                    <a:pt x="825546" y="209785"/>
                    <a:pt x="832117" y="210071"/>
                  </a:cubicBezTo>
                  <a:cubicBezTo>
                    <a:pt x="833260" y="210071"/>
                    <a:pt x="834402" y="210071"/>
                    <a:pt x="835259" y="210071"/>
                  </a:cubicBezTo>
                  <a:cubicBezTo>
                    <a:pt x="842116" y="210357"/>
                    <a:pt x="848973" y="210357"/>
                    <a:pt x="855543" y="210642"/>
                  </a:cubicBezTo>
                  <a:cubicBezTo>
                    <a:pt x="856972" y="210642"/>
                    <a:pt x="858686" y="210642"/>
                    <a:pt x="860114" y="210642"/>
                  </a:cubicBezTo>
                  <a:cubicBezTo>
                    <a:pt x="866685" y="210642"/>
                    <a:pt x="873256" y="210642"/>
                    <a:pt x="879827" y="210642"/>
                  </a:cubicBezTo>
                  <a:cubicBezTo>
                    <a:pt x="880684" y="210642"/>
                    <a:pt x="881541" y="210642"/>
                    <a:pt x="882399" y="210642"/>
                  </a:cubicBezTo>
                  <a:cubicBezTo>
                    <a:pt x="888398" y="210642"/>
                    <a:pt x="894112" y="210357"/>
                    <a:pt x="899825" y="210071"/>
                  </a:cubicBezTo>
                  <a:cubicBezTo>
                    <a:pt x="900968" y="210071"/>
                    <a:pt x="902111" y="210071"/>
                    <a:pt x="902968" y="209785"/>
                  </a:cubicBezTo>
                  <a:cubicBezTo>
                    <a:pt x="908968" y="209500"/>
                    <a:pt x="914682" y="208928"/>
                    <a:pt x="920110" y="208357"/>
                  </a:cubicBezTo>
                  <a:cubicBezTo>
                    <a:pt x="921252" y="208357"/>
                    <a:pt x="922395" y="208071"/>
                    <a:pt x="923824" y="208071"/>
                  </a:cubicBezTo>
                  <a:cubicBezTo>
                    <a:pt x="929537" y="207500"/>
                    <a:pt x="934966" y="206928"/>
                    <a:pt x="940108" y="206071"/>
                  </a:cubicBezTo>
                  <a:cubicBezTo>
                    <a:pt x="940394" y="206071"/>
                    <a:pt x="940965" y="206071"/>
                    <a:pt x="941251" y="205786"/>
                  </a:cubicBezTo>
                  <a:cubicBezTo>
                    <a:pt x="946108" y="204929"/>
                    <a:pt x="950964" y="204071"/>
                    <a:pt x="955535" y="203214"/>
                  </a:cubicBezTo>
                  <a:cubicBezTo>
                    <a:pt x="956392" y="202929"/>
                    <a:pt x="957249" y="202929"/>
                    <a:pt x="958392" y="202643"/>
                  </a:cubicBezTo>
                  <a:cubicBezTo>
                    <a:pt x="962963" y="201500"/>
                    <a:pt x="967534" y="200643"/>
                    <a:pt x="971534" y="199215"/>
                  </a:cubicBezTo>
                  <a:cubicBezTo>
                    <a:pt x="972391" y="198929"/>
                    <a:pt x="973248" y="198643"/>
                    <a:pt x="974105" y="198358"/>
                  </a:cubicBezTo>
                  <a:cubicBezTo>
                    <a:pt x="978391" y="196929"/>
                    <a:pt x="982390" y="195786"/>
                    <a:pt x="986390" y="194072"/>
                  </a:cubicBezTo>
                  <a:cubicBezTo>
                    <a:pt x="1150091" y="126649"/>
                    <a:pt x="1138949" y="196072"/>
                    <a:pt x="1138949" y="196072"/>
                  </a:cubicBezTo>
                  <a:cubicBezTo>
                    <a:pt x="1142949" y="202072"/>
                    <a:pt x="1147520" y="208071"/>
                    <a:pt x="1152091" y="214356"/>
                  </a:cubicBezTo>
                  <a:cubicBezTo>
                    <a:pt x="1152662" y="214928"/>
                    <a:pt x="1153234" y="215785"/>
                    <a:pt x="1153805" y="216356"/>
                  </a:cubicBezTo>
                  <a:cubicBezTo>
                    <a:pt x="1158090" y="222070"/>
                    <a:pt x="1162947" y="227784"/>
                    <a:pt x="1167804" y="233212"/>
                  </a:cubicBezTo>
                  <a:cubicBezTo>
                    <a:pt x="1168661" y="234069"/>
                    <a:pt x="1169518" y="235212"/>
                    <a:pt x="1170375" y="236069"/>
                  </a:cubicBezTo>
                  <a:cubicBezTo>
                    <a:pt x="1175232" y="241497"/>
                    <a:pt x="1180374" y="246925"/>
                    <a:pt x="1185517" y="252353"/>
                  </a:cubicBezTo>
                  <a:cubicBezTo>
                    <a:pt x="1186374" y="253210"/>
                    <a:pt x="1187517" y="254353"/>
                    <a:pt x="1188374" y="255210"/>
                  </a:cubicBezTo>
                  <a:cubicBezTo>
                    <a:pt x="1193802" y="260638"/>
                    <a:pt x="1199230" y="266066"/>
                    <a:pt x="1205229" y="271495"/>
                  </a:cubicBezTo>
                  <a:cubicBezTo>
                    <a:pt x="1206086" y="272352"/>
                    <a:pt x="1206943" y="272923"/>
                    <a:pt x="1207801" y="273780"/>
                  </a:cubicBezTo>
                  <a:cubicBezTo>
                    <a:pt x="1213800" y="279208"/>
                    <a:pt x="1220085" y="284922"/>
                    <a:pt x="1226656" y="290350"/>
                  </a:cubicBezTo>
                  <a:cubicBezTo>
                    <a:pt x="1226942" y="290636"/>
                    <a:pt x="1226942" y="290636"/>
                    <a:pt x="1227228" y="290922"/>
                  </a:cubicBezTo>
                  <a:cubicBezTo>
                    <a:pt x="1233513" y="296350"/>
                    <a:pt x="1240370" y="301778"/>
                    <a:pt x="1246940" y="306920"/>
                  </a:cubicBezTo>
                  <a:cubicBezTo>
                    <a:pt x="1247797" y="307492"/>
                    <a:pt x="1248655" y="308063"/>
                    <a:pt x="1249226" y="308920"/>
                  </a:cubicBezTo>
                  <a:cubicBezTo>
                    <a:pt x="1255797" y="314063"/>
                    <a:pt x="1262653" y="319205"/>
                    <a:pt x="1269510" y="324062"/>
                  </a:cubicBezTo>
                  <a:cubicBezTo>
                    <a:pt x="1270653" y="324919"/>
                    <a:pt x="1272081" y="325776"/>
                    <a:pt x="1273224" y="326919"/>
                  </a:cubicBezTo>
                  <a:cubicBezTo>
                    <a:pt x="1280081" y="331775"/>
                    <a:pt x="1286937" y="336632"/>
                    <a:pt x="1293794" y="341489"/>
                  </a:cubicBezTo>
                  <a:cubicBezTo>
                    <a:pt x="1295222" y="342346"/>
                    <a:pt x="1296651" y="343203"/>
                    <a:pt x="1297793" y="344346"/>
                  </a:cubicBezTo>
                  <a:cubicBezTo>
                    <a:pt x="1304936" y="349203"/>
                    <a:pt x="1312078" y="353774"/>
                    <a:pt x="1319220" y="358630"/>
                  </a:cubicBezTo>
                  <a:cubicBezTo>
                    <a:pt x="1320363" y="359487"/>
                    <a:pt x="1321791" y="360059"/>
                    <a:pt x="1322934" y="360916"/>
                  </a:cubicBezTo>
                  <a:cubicBezTo>
                    <a:pt x="1330362" y="365773"/>
                    <a:pt x="1338076" y="370629"/>
                    <a:pt x="1345789" y="375200"/>
                  </a:cubicBezTo>
                  <a:cubicBezTo>
                    <a:pt x="1346361" y="375486"/>
                    <a:pt x="1346932" y="375772"/>
                    <a:pt x="1347504" y="376343"/>
                  </a:cubicBezTo>
                  <a:cubicBezTo>
                    <a:pt x="1355217" y="380914"/>
                    <a:pt x="1362645" y="385485"/>
                    <a:pt x="1370359" y="390056"/>
                  </a:cubicBezTo>
                  <a:cubicBezTo>
                    <a:pt x="1371502" y="390628"/>
                    <a:pt x="1372359" y="391199"/>
                    <a:pt x="1373501" y="391771"/>
                  </a:cubicBezTo>
                  <a:cubicBezTo>
                    <a:pt x="1381215" y="396342"/>
                    <a:pt x="1388929" y="400627"/>
                    <a:pt x="1396928" y="404912"/>
                  </a:cubicBezTo>
                  <a:cubicBezTo>
                    <a:pt x="1398357" y="405769"/>
                    <a:pt x="1400071" y="406626"/>
                    <a:pt x="1401499" y="407484"/>
                  </a:cubicBezTo>
                  <a:cubicBezTo>
                    <a:pt x="1409213" y="411769"/>
                    <a:pt x="1416927" y="415769"/>
                    <a:pt x="1424640" y="419768"/>
                  </a:cubicBezTo>
                  <a:cubicBezTo>
                    <a:pt x="1426354" y="420625"/>
                    <a:pt x="1428069" y="421482"/>
                    <a:pt x="1429497" y="422340"/>
                  </a:cubicBezTo>
                  <a:cubicBezTo>
                    <a:pt x="1437211" y="426339"/>
                    <a:pt x="1444924" y="430339"/>
                    <a:pt x="1452638" y="434339"/>
                  </a:cubicBezTo>
                  <a:cubicBezTo>
                    <a:pt x="1454066" y="435196"/>
                    <a:pt x="1455781" y="435767"/>
                    <a:pt x="1457209" y="436624"/>
                  </a:cubicBezTo>
                  <a:cubicBezTo>
                    <a:pt x="1465208" y="440624"/>
                    <a:pt x="1473208" y="444623"/>
                    <a:pt x="1481207" y="448623"/>
                  </a:cubicBezTo>
                  <a:cubicBezTo>
                    <a:pt x="1482064" y="449194"/>
                    <a:pt x="1482921" y="449480"/>
                    <a:pt x="1484064" y="450052"/>
                  </a:cubicBezTo>
                  <a:cubicBezTo>
                    <a:pt x="1491778" y="453766"/>
                    <a:pt x="1499777" y="457480"/>
                    <a:pt x="1507491" y="461193"/>
                  </a:cubicBezTo>
                  <a:cubicBezTo>
                    <a:pt x="1508633" y="461765"/>
                    <a:pt x="1509776" y="462336"/>
                    <a:pt x="1510919" y="462622"/>
                  </a:cubicBezTo>
                  <a:cubicBezTo>
                    <a:pt x="1518918" y="466336"/>
                    <a:pt x="1526632" y="469764"/>
                    <a:pt x="1534631" y="473478"/>
                  </a:cubicBezTo>
                  <a:cubicBezTo>
                    <a:pt x="1536346" y="474335"/>
                    <a:pt x="1537774" y="474907"/>
                    <a:pt x="1539488" y="475764"/>
                  </a:cubicBezTo>
                  <a:cubicBezTo>
                    <a:pt x="1547202" y="479192"/>
                    <a:pt x="1554630" y="482620"/>
                    <a:pt x="1562343" y="485763"/>
                  </a:cubicBezTo>
                  <a:cubicBezTo>
                    <a:pt x="1564057" y="486620"/>
                    <a:pt x="1565772" y="487191"/>
                    <a:pt x="1567486" y="488048"/>
                  </a:cubicBezTo>
                  <a:cubicBezTo>
                    <a:pt x="1574914" y="491191"/>
                    <a:pt x="1582342" y="494619"/>
                    <a:pt x="1589770" y="497762"/>
                  </a:cubicBezTo>
                  <a:cubicBezTo>
                    <a:pt x="1591484" y="498333"/>
                    <a:pt x="1592912" y="499190"/>
                    <a:pt x="1594627" y="499762"/>
                  </a:cubicBezTo>
                  <a:cubicBezTo>
                    <a:pt x="1602054" y="502904"/>
                    <a:pt x="1609768" y="506047"/>
                    <a:pt x="1617196" y="509190"/>
                  </a:cubicBezTo>
                  <a:cubicBezTo>
                    <a:pt x="1616910" y="508904"/>
                    <a:pt x="1618053" y="509475"/>
                    <a:pt x="1618910" y="509761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D24060B8-C529-4EAF-9AAE-2FAD026A2301}"/>
                </a:ext>
              </a:extLst>
            </p:cNvPr>
            <p:cNvSpPr/>
            <p:nvPr/>
          </p:nvSpPr>
          <p:spPr>
            <a:xfrm>
              <a:off x="7230262" y="3534411"/>
              <a:ext cx="1249613" cy="709946"/>
            </a:xfrm>
            <a:custGeom>
              <a:avLst/>
              <a:gdLst>
                <a:gd name="connsiteX0" fmla="*/ 1249613 w 1249613"/>
                <a:gd name="connsiteY0" fmla="*/ 376259 h 709946"/>
                <a:gd name="connsiteX1" fmla="*/ 1133051 w 1249613"/>
                <a:gd name="connsiteY1" fmla="*/ 458538 h 709946"/>
                <a:gd name="connsiteX2" fmla="*/ 1124766 w 1249613"/>
                <a:gd name="connsiteY2" fmla="*/ 435112 h 709946"/>
                <a:gd name="connsiteX3" fmla="*/ 750796 w 1249613"/>
                <a:gd name="connsiteY3" fmla="*/ 424827 h 709946"/>
                <a:gd name="connsiteX4" fmla="*/ 695944 w 1249613"/>
                <a:gd name="connsiteY4" fmla="*/ 122851 h 709946"/>
                <a:gd name="connsiteX5" fmla="*/ 615379 w 1249613"/>
                <a:gd name="connsiteY5" fmla="*/ 336834 h 709946"/>
                <a:gd name="connsiteX6" fmla="*/ 704229 w 1249613"/>
                <a:gd name="connsiteY6" fmla="*/ 532247 h 709946"/>
                <a:gd name="connsiteX7" fmla="*/ 796793 w 1249613"/>
                <a:gd name="connsiteY7" fmla="*/ 547103 h 709946"/>
                <a:gd name="connsiteX8" fmla="*/ 865644 w 1249613"/>
                <a:gd name="connsiteY8" fmla="*/ 546817 h 709946"/>
                <a:gd name="connsiteX9" fmla="*/ 825933 w 1249613"/>
                <a:gd name="connsiteY9" fmla="*/ 581386 h 709946"/>
                <a:gd name="connsiteX10" fmla="*/ 803935 w 1249613"/>
                <a:gd name="connsiteY10" fmla="*/ 584528 h 709946"/>
                <a:gd name="connsiteX11" fmla="*/ 555669 w 1249613"/>
                <a:gd name="connsiteY11" fmla="*/ 533389 h 709946"/>
                <a:gd name="connsiteX12" fmla="*/ 564526 w 1249613"/>
                <a:gd name="connsiteY12" fmla="*/ 274839 h 709946"/>
                <a:gd name="connsiteX13" fmla="*/ 575953 w 1249613"/>
                <a:gd name="connsiteY13" fmla="*/ 210273 h 709946"/>
                <a:gd name="connsiteX14" fmla="*/ 607094 w 1249613"/>
                <a:gd name="connsiteY14" fmla="*/ 99139 h 709946"/>
                <a:gd name="connsiteX15" fmla="*/ 589666 w 1249613"/>
                <a:gd name="connsiteY15" fmla="*/ 23716 h 709946"/>
                <a:gd name="connsiteX16" fmla="*/ 591666 w 1249613"/>
                <a:gd name="connsiteY16" fmla="*/ 108281 h 709946"/>
                <a:gd name="connsiteX17" fmla="*/ 565954 w 1249613"/>
                <a:gd name="connsiteY17" fmla="*/ 159991 h 709946"/>
                <a:gd name="connsiteX18" fmla="*/ 560240 w 1249613"/>
                <a:gd name="connsiteY18" fmla="*/ 123423 h 709946"/>
                <a:gd name="connsiteX19" fmla="*/ 529671 w 1249613"/>
                <a:gd name="connsiteY19" fmla="*/ 4 h 709946"/>
                <a:gd name="connsiteX20" fmla="*/ 532814 w 1249613"/>
                <a:gd name="connsiteY20" fmla="*/ 248841 h 709946"/>
                <a:gd name="connsiteX21" fmla="*/ 464248 w 1249613"/>
                <a:gd name="connsiteY21" fmla="*/ 570244 h 709946"/>
                <a:gd name="connsiteX22" fmla="*/ 0 w 1249613"/>
                <a:gd name="connsiteY22" fmla="*/ 595670 h 709946"/>
                <a:gd name="connsiteX23" fmla="*/ 247980 w 1249613"/>
                <a:gd name="connsiteY23" fmla="*/ 630524 h 709946"/>
                <a:gd name="connsiteX24" fmla="*/ 464534 w 1249613"/>
                <a:gd name="connsiteY24" fmla="*/ 639095 h 709946"/>
                <a:gd name="connsiteX25" fmla="*/ 695372 w 1249613"/>
                <a:gd name="connsiteY25" fmla="*/ 607383 h 709946"/>
                <a:gd name="connsiteX26" fmla="*/ 815934 w 1249613"/>
                <a:gd name="connsiteY26" fmla="*/ 709947 h 709946"/>
                <a:gd name="connsiteX27" fmla="*/ 1135908 w 1249613"/>
                <a:gd name="connsiteY27" fmla="*/ 626239 h 709946"/>
                <a:gd name="connsiteX28" fmla="*/ 1249613 w 1249613"/>
                <a:gd name="connsiteY28" fmla="*/ 376259 h 709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49613" h="709946">
                  <a:moveTo>
                    <a:pt x="1249613" y="376259"/>
                  </a:moveTo>
                  <a:cubicBezTo>
                    <a:pt x="1210188" y="403400"/>
                    <a:pt x="1172762" y="431969"/>
                    <a:pt x="1133051" y="458538"/>
                  </a:cubicBezTo>
                  <a:cubicBezTo>
                    <a:pt x="1132194" y="449682"/>
                    <a:pt x="1129623" y="441683"/>
                    <a:pt x="1124766" y="435112"/>
                  </a:cubicBezTo>
                  <a:cubicBezTo>
                    <a:pt x="1075056" y="364832"/>
                    <a:pt x="856788" y="514534"/>
                    <a:pt x="750796" y="424827"/>
                  </a:cubicBezTo>
                  <a:cubicBezTo>
                    <a:pt x="654518" y="343405"/>
                    <a:pt x="729941" y="129994"/>
                    <a:pt x="695944" y="122851"/>
                  </a:cubicBezTo>
                  <a:cubicBezTo>
                    <a:pt x="671374" y="117709"/>
                    <a:pt x="611950" y="223700"/>
                    <a:pt x="615379" y="336834"/>
                  </a:cubicBezTo>
                  <a:cubicBezTo>
                    <a:pt x="615664" y="345690"/>
                    <a:pt x="621664" y="497107"/>
                    <a:pt x="704229" y="532247"/>
                  </a:cubicBezTo>
                  <a:cubicBezTo>
                    <a:pt x="726798" y="541674"/>
                    <a:pt x="765081" y="547103"/>
                    <a:pt x="796793" y="547103"/>
                  </a:cubicBezTo>
                  <a:cubicBezTo>
                    <a:pt x="836504" y="547103"/>
                    <a:pt x="862216" y="539103"/>
                    <a:pt x="865644" y="546817"/>
                  </a:cubicBezTo>
                  <a:cubicBezTo>
                    <a:pt x="869072" y="554531"/>
                    <a:pt x="845646" y="567387"/>
                    <a:pt x="825933" y="581386"/>
                  </a:cubicBezTo>
                  <a:cubicBezTo>
                    <a:pt x="818791" y="582528"/>
                    <a:pt x="811363" y="583385"/>
                    <a:pt x="803935" y="584528"/>
                  </a:cubicBezTo>
                  <a:cubicBezTo>
                    <a:pt x="752225" y="590528"/>
                    <a:pt x="601094" y="607098"/>
                    <a:pt x="555669" y="533389"/>
                  </a:cubicBezTo>
                  <a:cubicBezTo>
                    <a:pt x="532814" y="496535"/>
                    <a:pt x="543385" y="422541"/>
                    <a:pt x="564526" y="274839"/>
                  </a:cubicBezTo>
                  <a:cubicBezTo>
                    <a:pt x="568811" y="245698"/>
                    <a:pt x="570811" y="230557"/>
                    <a:pt x="575953" y="210273"/>
                  </a:cubicBezTo>
                  <a:cubicBezTo>
                    <a:pt x="590524" y="151135"/>
                    <a:pt x="605665" y="138279"/>
                    <a:pt x="607094" y="99139"/>
                  </a:cubicBezTo>
                  <a:cubicBezTo>
                    <a:pt x="608522" y="55714"/>
                    <a:pt x="591381" y="23431"/>
                    <a:pt x="589666" y="23716"/>
                  </a:cubicBezTo>
                  <a:cubicBezTo>
                    <a:pt x="587952" y="24002"/>
                    <a:pt x="601951" y="61999"/>
                    <a:pt x="591666" y="108281"/>
                  </a:cubicBezTo>
                  <a:cubicBezTo>
                    <a:pt x="585953" y="134279"/>
                    <a:pt x="572811" y="161420"/>
                    <a:pt x="565954" y="159991"/>
                  </a:cubicBezTo>
                  <a:cubicBezTo>
                    <a:pt x="560812" y="158848"/>
                    <a:pt x="561383" y="140850"/>
                    <a:pt x="560240" y="123423"/>
                  </a:cubicBezTo>
                  <a:cubicBezTo>
                    <a:pt x="557098" y="58285"/>
                    <a:pt x="535385" y="-567"/>
                    <a:pt x="529671" y="4"/>
                  </a:cubicBezTo>
                  <a:cubicBezTo>
                    <a:pt x="521958" y="861"/>
                    <a:pt x="541670" y="112566"/>
                    <a:pt x="532814" y="248841"/>
                  </a:cubicBezTo>
                  <a:cubicBezTo>
                    <a:pt x="520815" y="429112"/>
                    <a:pt x="514815" y="519391"/>
                    <a:pt x="464248" y="570244"/>
                  </a:cubicBezTo>
                  <a:cubicBezTo>
                    <a:pt x="385112" y="649951"/>
                    <a:pt x="273406" y="591956"/>
                    <a:pt x="0" y="595670"/>
                  </a:cubicBezTo>
                  <a:cubicBezTo>
                    <a:pt x="48853" y="609669"/>
                    <a:pt x="129418" y="618240"/>
                    <a:pt x="247980" y="630524"/>
                  </a:cubicBezTo>
                  <a:cubicBezTo>
                    <a:pt x="331116" y="639381"/>
                    <a:pt x="386826" y="645095"/>
                    <a:pt x="464534" y="639095"/>
                  </a:cubicBezTo>
                  <a:cubicBezTo>
                    <a:pt x="607665" y="627668"/>
                    <a:pt x="628806" y="591099"/>
                    <a:pt x="695372" y="607383"/>
                  </a:cubicBezTo>
                  <a:cubicBezTo>
                    <a:pt x="757939" y="622811"/>
                    <a:pt x="789936" y="667379"/>
                    <a:pt x="815934" y="709947"/>
                  </a:cubicBezTo>
                  <a:cubicBezTo>
                    <a:pt x="939924" y="682235"/>
                    <a:pt x="1064200" y="647380"/>
                    <a:pt x="1135908" y="626239"/>
                  </a:cubicBezTo>
                  <a:cubicBezTo>
                    <a:pt x="1187047" y="554245"/>
                    <a:pt x="1230472" y="465966"/>
                    <a:pt x="1249613" y="376259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ED388B58-1958-4B8C-80AF-209CCB449FAE}"/>
                </a:ext>
              </a:extLst>
            </p:cNvPr>
            <p:cNvSpPr/>
            <p:nvPr/>
          </p:nvSpPr>
          <p:spPr>
            <a:xfrm>
              <a:off x="7868435" y="3604712"/>
              <a:ext cx="644382" cy="731026"/>
            </a:xfrm>
            <a:custGeom>
              <a:avLst/>
              <a:gdLst>
                <a:gd name="connsiteX0" fmla="*/ 58628 w 644382"/>
                <a:gd name="connsiteY0" fmla="*/ 268 h 731026"/>
                <a:gd name="connsiteX1" fmla="*/ 116909 w 644382"/>
                <a:gd name="connsiteY1" fmla="*/ 115116 h 731026"/>
                <a:gd name="connsiteX2" fmla="*/ 236327 w 644382"/>
                <a:gd name="connsiteY2" fmla="*/ 269675 h 731026"/>
                <a:gd name="connsiteX3" fmla="*/ 644009 w 644382"/>
                <a:gd name="connsiteY3" fmla="*/ 359954 h 731026"/>
                <a:gd name="connsiteX4" fmla="*/ 297465 w 644382"/>
                <a:gd name="connsiteY4" fmla="*/ 692498 h 731026"/>
                <a:gd name="connsiteX5" fmla="*/ 238613 w 644382"/>
                <a:gd name="connsiteY5" fmla="*/ 695641 h 731026"/>
                <a:gd name="connsiteX6" fmla="*/ 41486 w 644382"/>
                <a:gd name="connsiteY6" fmla="*/ 667071 h 731026"/>
                <a:gd name="connsiteX7" fmla="*/ 237756 w 644382"/>
                <a:gd name="connsiteY7" fmla="*/ 626503 h 731026"/>
                <a:gd name="connsiteX8" fmla="*/ 312893 w 644382"/>
                <a:gd name="connsiteY8" fmla="*/ 481944 h 731026"/>
                <a:gd name="connsiteX9" fmla="*/ 407171 w 644382"/>
                <a:gd name="connsiteY9" fmla="*/ 401664 h 731026"/>
                <a:gd name="connsiteX10" fmla="*/ 111195 w 644382"/>
                <a:gd name="connsiteY10" fmla="*/ 443090 h 731026"/>
                <a:gd name="connsiteX11" fmla="*/ 14060 w 644382"/>
                <a:gd name="connsiteY11" fmla="*/ 130258 h 731026"/>
                <a:gd name="connsiteX12" fmla="*/ 58628 w 644382"/>
                <a:gd name="connsiteY12" fmla="*/ 268 h 73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4382" h="731026">
                  <a:moveTo>
                    <a:pt x="58628" y="268"/>
                  </a:moveTo>
                  <a:cubicBezTo>
                    <a:pt x="58628" y="268"/>
                    <a:pt x="87482" y="-11159"/>
                    <a:pt x="116909" y="115116"/>
                  </a:cubicBezTo>
                  <a:cubicBezTo>
                    <a:pt x="146335" y="241392"/>
                    <a:pt x="154334" y="267104"/>
                    <a:pt x="236327" y="269675"/>
                  </a:cubicBezTo>
                  <a:cubicBezTo>
                    <a:pt x="318321" y="271961"/>
                    <a:pt x="638866" y="261961"/>
                    <a:pt x="644009" y="359954"/>
                  </a:cubicBezTo>
                  <a:cubicBezTo>
                    <a:pt x="649151" y="457946"/>
                    <a:pt x="604583" y="548795"/>
                    <a:pt x="297465" y="692498"/>
                  </a:cubicBezTo>
                  <a:cubicBezTo>
                    <a:pt x="297465" y="692498"/>
                    <a:pt x="264325" y="684499"/>
                    <a:pt x="238613" y="695641"/>
                  </a:cubicBezTo>
                  <a:cubicBezTo>
                    <a:pt x="212901" y="706783"/>
                    <a:pt x="140050" y="784205"/>
                    <a:pt x="41486" y="667071"/>
                  </a:cubicBezTo>
                  <a:lnTo>
                    <a:pt x="237756" y="626503"/>
                  </a:lnTo>
                  <a:cubicBezTo>
                    <a:pt x="237756" y="626503"/>
                    <a:pt x="217186" y="532797"/>
                    <a:pt x="312893" y="481944"/>
                  </a:cubicBezTo>
                  <a:cubicBezTo>
                    <a:pt x="408599" y="431091"/>
                    <a:pt x="407171" y="401664"/>
                    <a:pt x="407171" y="401664"/>
                  </a:cubicBezTo>
                  <a:cubicBezTo>
                    <a:pt x="407171" y="401664"/>
                    <a:pt x="276610" y="477087"/>
                    <a:pt x="111195" y="443090"/>
                  </a:cubicBezTo>
                  <a:cubicBezTo>
                    <a:pt x="-54506" y="409092"/>
                    <a:pt x="14060" y="130258"/>
                    <a:pt x="14060" y="130258"/>
                  </a:cubicBezTo>
                  <a:cubicBezTo>
                    <a:pt x="14060" y="130258"/>
                    <a:pt x="32058" y="60549"/>
                    <a:pt x="58628" y="268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94DC4E0C-8AD7-4BAB-8B61-20BB91060134}"/>
                </a:ext>
              </a:extLst>
            </p:cNvPr>
            <p:cNvSpPr/>
            <p:nvPr/>
          </p:nvSpPr>
          <p:spPr>
            <a:xfrm>
              <a:off x="9461435" y="3605432"/>
              <a:ext cx="447125" cy="1058937"/>
            </a:xfrm>
            <a:custGeom>
              <a:avLst/>
              <a:gdLst>
                <a:gd name="connsiteX0" fmla="*/ 428041 w 447125"/>
                <a:gd name="connsiteY0" fmla="*/ 199818 h 1058937"/>
                <a:gd name="connsiteX1" fmla="*/ 438611 w 447125"/>
                <a:gd name="connsiteY1" fmla="*/ 520364 h 1058937"/>
                <a:gd name="connsiteX2" fmla="*/ 409471 w 447125"/>
                <a:gd name="connsiteY2" fmla="*/ 656353 h 1058937"/>
                <a:gd name="connsiteX3" fmla="*/ 365760 w 447125"/>
                <a:gd name="connsiteY3" fmla="*/ 791485 h 1058937"/>
                <a:gd name="connsiteX4" fmla="*/ 301479 w 447125"/>
                <a:gd name="connsiteY4" fmla="*/ 876621 h 1058937"/>
                <a:gd name="connsiteX5" fmla="*/ 244627 w 447125"/>
                <a:gd name="connsiteY5" fmla="*/ 966899 h 1058937"/>
                <a:gd name="connsiteX6" fmla="*/ 222343 w 447125"/>
                <a:gd name="connsiteY6" fmla="*/ 917760 h 1058937"/>
                <a:gd name="connsiteX7" fmla="*/ 168633 w 447125"/>
                <a:gd name="connsiteY7" fmla="*/ 1017752 h 1058937"/>
                <a:gd name="connsiteX8" fmla="*/ 225200 w 447125"/>
                <a:gd name="connsiteY8" fmla="*/ 1040607 h 1058937"/>
                <a:gd name="connsiteX9" fmla="*/ 117780 w 447125"/>
                <a:gd name="connsiteY9" fmla="*/ 1052321 h 1058937"/>
                <a:gd name="connsiteX10" fmla="*/ 361 w 447125"/>
                <a:gd name="connsiteY10" fmla="*/ 874049 h 1058937"/>
                <a:gd name="connsiteX11" fmla="*/ 162062 w 447125"/>
                <a:gd name="connsiteY11" fmla="*/ 648068 h 1058937"/>
                <a:gd name="connsiteX12" fmla="*/ 208344 w 447125"/>
                <a:gd name="connsiteY12" fmla="*/ 306381 h 1058937"/>
                <a:gd name="connsiteX13" fmla="*/ 196345 w 447125"/>
                <a:gd name="connsiteY13" fmla="*/ 75828 h 1058937"/>
                <a:gd name="connsiteX14" fmla="*/ 356332 w 447125"/>
                <a:gd name="connsiteY14" fmla="*/ 406 h 1058937"/>
                <a:gd name="connsiteX15" fmla="*/ 442325 w 447125"/>
                <a:gd name="connsiteY15" fmla="*/ 116111 h 105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125" h="1058937">
                  <a:moveTo>
                    <a:pt x="428041" y="199818"/>
                  </a:moveTo>
                  <a:cubicBezTo>
                    <a:pt x="428041" y="199818"/>
                    <a:pt x="422327" y="462368"/>
                    <a:pt x="438611" y="520364"/>
                  </a:cubicBezTo>
                  <a:cubicBezTo>
                    <a:pt x="454610" y="578645"/>
                    <a:pt x="449753" y="608357"/>
                    <a:pt x="409471" y="656353"/>
                  </a:cubicBezTo>
                  <a:cubicBezTo>
                    <a:pt x="369474" y="704349"/>
                    <a:pt x="365760" y="791485"/>
                    <a:pt x="365760" y="791485"/>
                  </a:cubicBezTo>
                  <a:cubicBezTo>
                    <a:pt x="365760" y="791485"/>
                    <a:pt x="322049" y="800341"/>
                    <a:pt x="301479" y="876621"/>
                  </a:cubicBezTo>
                  <a:cubicBezTo>
                    <a:pt x="280910" y="953186"/>
                    <a:pt x="244627" y="966899"/>
                    <a:pt x="244627" y="966899"/>
                  </a:cubicBezTo>
                  <a:cubicBezTo>
                    <a:pt x="241770" y="933759"/>
                    <a:pt x="239770" y="922903"/>
                    <a:pt x="222343" y="917760"/>
                  </a:cubicBezTo>
                  <a:cubicBezTo>
                    <a:pt x="204916" y="912618"/>
                    <a:pt x="163205" y="987183"/>
                    <a:pt x="168633" y="1017752"/>
                  </a:cubicBezTo>
                  <a:cubicBezTo>
                    <a:pt x="174061" y="1048321"/>
                    <a:pt x="225200" y="1040607"/>
                    <a:pt x="225200" y="1040607"/>
                  </a:cubicBezTo>
                  <a:cubicBezTo>
                    <a:pt x="225200" y="1040607"/>
                    <a:pt x="183775" y="1072319"/>
                    <a:pt x="117780" y="1052321"/>
                  </a:cubicBezTo>
                  <a:cubicBezTo>
                    <a:pt x="51500" y="1032322"/>
                    <a:pt x="-5067" y="1003467"/>
                    <a:pt x="361" y="874049"/>
                  </a:cubicBezTo>
                  <a:cubicBezTo>
                    <a:pt x="6075" y="744631"/>
                    <a:pt x="162062" y="648068"/>
                    <a:pt x="162062" y="648068"/>
                  </a:cubicBezTo>
                  <a:cubicBezTo>
                    <a:pt x="162062" y="648068"/>
                    <a:pt x="195202" y="434942"/>
                    <a:pt x="208344" y="306381"/>
                  </a:cubicBezTo>
                  <a:cubicBezTo>
                    <a:pt x="221486" y="177820"/>
                    <a:pt x="196345" y="75828"/>
                    <a:pt x="196345" y="75828"/>
                  </a:cubicBezTo>
                  <a:cubicBezTo>
                    <a:pt x="196345" y="75828"/>
                    <a:pt x="169205" y="-6451"/>
                    <a:pt x="356332" y="406"/>
                  </a:cubicBezTo>
                  <a:cubicBezTo>
                    <a:pt x="356332" y="406"/>
                    <a:pt x="396615" y="-1594"/>
                    <a:pt x="442325" y="116111"/>
                  </a:cubicBezTo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22BC88FC-2669-49AE-9DDB-7AD216387FEF}"/>
                </a:ext>
              </a:extLst>
            </p:cNvPr>
            <p:cNvSpPr/>
            <p:nvPr/>
          </p:nvSpPr>
          <p:spPr>
            <a:xfrm>
              <a:off x="7932205" y="3604981"/>
              <a:ext cx="580065" cy="517386"/>
            </a:xfrm>
            <a:custGeom>
              <a:avLst/>
              <a:gdLst>
                <a:gd name="connsiteX0" fmla="*/ 172557 w 580065"/>
                <a:gd name="connsiteY0" fmla="*/ 269407 h 517386"/>
                <a:gd name="connsiteX1" fmla="*/ 53139 w 580065"/>
                <a:gd name="connsiteY1" fmla="*/ 114848 h 517386"/>
                <a:gd name="connsiteX2" fmla="*/ 0 w 580065"/>
                <a:gd name="connsiteY2" fmla="*/ 0 h 517386"/>
                <a:gd name="connsiteX3" fmla="*/ 29426 w 580065"/>
                <a:gd name="connsiteY3" fmla="*/ 163415 h 517386"/>
                <a:gd name="connsiteX4" fmla="*/ 24569 w 580065"/>
                <a:gd name="connsiteY4" fmla="*/ 308546 h 517386"/>
                <a:gd name="connsiteX5" fmla="*/ 221125 w 580065"/>
                <a:gd name="connsiteY5" fmla="*/ 305690 h 517386"/>
                <a:gd name="connsiteX6" fmla="*/ 416252 w 580065"/>
                <a:gd name="connsiteY6" fmla="*/ 359399 h 517386"/>
                <a:gd name="connsiteX7" fmla="*/ 380255 w 580065"/>
                <a:gd name="connsiteY7" fmla="*/ 393682 h 517386"/>
                <a:gd name="connsiteX8" fmla="*/ 319974 w 580065"/>
                <a:gd name="connsiteY8" fmla="*/ 437393 h 517386"/>
                <a:gd name="connsiteX9" fmla="*/ 224553 w 580065"/>
                <a:gd name="connsiteY9" fmla="*/ 497103 h 517386"/>
                <a:gd name="connsiteX10" fmla="*/ 203126 w 580065"/>
                <a:gd name="connsiteY10" fmla="*/ 517387 h 517386"/>
                <a:gd name="connsiteX11" fmla="*/ 271407 w 580065"/>
                <a:gd name="connsiteY11" fmla="*/ 491389 h 517386"/>
                <a:gd name="connsiteX12" fmla="*/ 408824 w 580065"/>
                <a:gd name="connsiteY12" fmla="*/ 441679 h 517386"/>
                <a:gd name="connsiteX13" fmla="*/ 494817 w 580065"/>
                <a:gd name="connsiteY13" fmla="*/ 393111 h 517386"/>
                <a:gd name="connsiteX14" fmla="*/ 558241 w 580065"/>
                <a:gd name="connsiteY14" fmla="*/ 417680 h 517386"/>
                <a:gd name="connsiteX15" fmla="*/ 573954 w 580065"/>
                <a:gd name="connsiteY15" fmla="*/ 421966 h 517386"/>
                <a:gd name="connsiteX16" fmla="*/ 579667 w 580065"/>
                <a:gd name="connsiteY16" fmla="*/ 359399 h 517386"/>
                <a:gd name="connsiteX17" fmla="*/ 172557 w 580065"/>
                <a:gd name="connsiteY17" fmla="*/ 269407 h 51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80065" h="517386">
                  <a:moveTo>
                    <a:pt x="172557" y="269407"/>
                  </a:moveTo>
                  <a:cubicBezTo>
                    <a:pt x="90564" y="267121"/>
                    <a:pt x="82565" y="241409"/>
                    <a:pt x="53139" y="114848"/>
                  </a:cubicBezTo>
                  <a:cubicBezTo>
                    <a:pt x="31140" y="20570"/>
                    <a:pt x="9428" y="2857"/>
                    <a:pt x="0" y="0"/>
                  </a:cubicBezTo>
                  <a:cubicBezTo>
                    <a:pt x="10856" y="33997"/>
                    <a:pt x="32855" y="79708"/>
                    <a:pt x="29426" y="163415"/>
                  </a:cubicBezTo>
                  <a:cubicBezTo>
                    <a:pt x="26284" y="246837"/>
                    <a:pt x="1143" y="282263"/>
                    <a:pt x="24569" y="308546"/>
                  </a:cubicBezTo>
                  <a:cubicBezTo>
                    <a:pt x="52282" y="339687"/>
                    <a:pt x="104563" y="310261"/>
                    <a:pt x="221125" y="305690"/>
                  </a:cubicBezTo>
                  <a:cubicBezTo>
                    <a:pt x="332830" y="301404"/>
                    <a:pt x="410253" y="321974"/>
                    <a:pt x="416252" y="359399"/>
                  </a:cubicBezTo>
                  <a:cubicBezTo>
                    <a:pt x="418538" y="373113"/>
                    <a:pt x="409110" y="371684"/>
                    <a:pt x="380255" y="393682"/>
                  </a:cubicBezTo>
                  <a:cubicBezTo>
                    <a:pt x="342829" y="422251"/>
                    <a:pt x="330545" y="430251"/>
                    <a:pt x="319974" y="437393"/>
                  </a:cubicBezTo>
                  <a:cubicBezTo>
                    <a:pt x="281691" y="462248"/>
                    <a:pt x="252837" y="482818"/>
                    <a:pt x="224553" y="497103"/>
                  </a:cubicBezTo>
                  <a:cubicBezTo>
                    <a:pt x="216268" y="503673"/>
                    <a:pt x="209126" y="510244"/>
                    <a:pt x="203126" y="517387"/>
                  </a:cubicBezTo>
                  <a:cubicBezTo>
                    <a:pt x="219697" y="510816"/>
                    <a:pt x="242552" y="501959"/>
                    <a:pt x="271407" y="491389"/>
                  </a:cubicBezTo>
                  <a:cubicBezTo>
                    <a:pt x="375113" y="453963"/>
                    <a:pt x="376827" y="461391"/>
                    <a:pt x="408824" y="441679"/>
                  </a:cubicBezTo>
                  <a:cubicBezTo>
                    <a:pt x="452821" y="414538"/>
                    <a:pt x="463677" y="391397"/>
                    <a:pt x="494817" y="393111"/>
                  </a:cubicBezTo>
                  <a:cubicBezTo>
                    <a:pt x="517387" y="394254"/>
                    <a:pt x="522529" y="406824"/>
                    <a:pt x="558241" y="417680"/>
                  </a:cubicBezTo>
                  <a:cubicBezTo>
                    <a:pt x="562526" y="419109"/>
                    <a:pt x="568240" y="420537"/>
                    <a:pt x="573954" y="421966"/>
                  </a:cubicBezTo>
                  <a:cubicBezTo>
                    <a:pt x="579667" y="401110"/>
                    <a:pt x="580810" y="380255"/>
                    <a:pt x="579667" y="359399"/>
                  </a:cubicBezTo>
                  <a:cubicBezTo>
                    <a:pt x="575096" y="261693"/>
                    <a:pt x="254551" y="271692"/>
                    <a:pt x="172557" y="269407"/>
                  </a:cubicBezTo>
                  <a:close/>
                </a:path>
              </a:pathLst>
            </a:custGeom>
            <a:solidFill>
              <a:srgbClr val="85FC2D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695EA2E9-99ED-4339-824D-C51EFCD3CB11}"/>
                </a:ext>
              </a:extLst>
            </p:cNvPr>
            <p:cNvSpPr/>
            <p:nvPr/>
          </p:nvSpPr>
          <p:spPr>
            <a:xfrm>
              <a:off x="7909350" y="4079220"/>
              <a:ext cx="554812" cy="256111"/>
            </a:xfrm>
            <a:custGeom>
              <a:avLst/>
              <a:gdLst>
                <a:gd name="connsiteX0" fmla="*/ 554812 w 554812"/>
                <a:gd name="connsiteY0" fmla="*/ 25434 h 256111"/>
                <a:gd name="connsiteX1" fmla="*/ 461391 w 554812"/>
                <a:gd name="connsiteY1" fmla="*/ 2579 h 256111"/>
                <a:gd name="connsiteX2" fmla="*/ 420823 w 554812"/>
                <a:gd name="connsiteY2" fmla="*/ 44004 h 256111"/>
                <a:gd name="connsiteX3" fmla="*/ 227124 w 554812"/>
                <a:gd name="connsiteY3" fmla="*/ 165423 h 256111"/>
                <a:gd name="connsiteX4" fmla="*/ 106849 w 554812"/>
                <a:gd name="connsiteY4" fmla="*/ 217419 h 256111"/>
                <a:gd name="connsiteX5" fmla="*/ 51424 w 554812"/>
                <a:gd name="connsiteY5" fmla="*/ 181707 h 256111"/>
                <a:gd name="connsiteX6" fmla="*/ 0 w 554812"/>
                <a:gd name="connsiteY6" fmla="*/ 192278 h 256111"/>
                <a:gd name="connsiteX7" fmla="*/ 197127 w 554812"/>
                <a:gd name="connsiteY7" fmla="*/ 220847 h 256111"/>
                <a:gd name="connsiteX8" fmla="*/ 255979 w 554812"/>
                <a:gd name="connsiteY8" fmla="*/ 217705 h 256111"/>
                <a:gd name="connsiteX9" fmla="*/ 554812 w 554812"/>
                <a:gd name="connsiteY9" fmla="*/ 25434 h 25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812" h="256111">
                  <a:moveTo>
                    <a:pt x="554812" y="25434"/>
                  </a:moveTo>
                  <a:cubicBezTo>
                    <a:pt x="523386" y="21149"/>
                    <a:pt x="495103" y="-8849"/>
                    <a:pt x="461391" y="2579"/>
                  </a:cubicBezTo>
                  <a:cubicBezTo>
                    <a:pt x="441964" y="9150"/>
                    <a:pt x="435393" y="24292"/>
                    <a:pt x="420823" y="44004"/>
                  </a:cubicBezTo>
                  <a:cubicBezTo>
                    <a:pt x="395682" y="77716"/>
                    <a:pt x="380541" y="79144"/>
                    <a:pt x="227124" y="165423"/>
                  </a:cubicBezTo>
                  <a:cubicBezTo>
                    <a:pt x="140274" y="214276"/>
                    <a:pt x="128561" y="223418"/>
                    <a:pt x="106849" y="217419"/>
                  </a:cubicBezTo>
                  <a:cubicBezTo>
                    <a:pt x="84850" y="211419"/>
                    <a:pt x="70566" y="194849"/>
                    <a:pt x="51424" y="181707"/>
                  </a:cubicBezTo>
                  <a:lnTo>
                    <a:pt x="0" y="192278"/>
                  </a:lnTo>
                  <a:cubicBezTo>
                    <a:pt x="98563" y="309126"/>
                    <a:pt x="171700" y="231989"/>
                    <a:pt x="197127" y="220847"/>
                  </a:cubicBezTo>
                  <a:cubicBezTo>
                    <a:pt x="222839" y="209705"/>
                    <a:pt x="255979" y="217705"/>
                    <a:pt x="255979" y="217705"/>
                  </a:cubicBezTo>
                  <a:cubicBezTo>
                    <a:pt x="418823" y="141996"/>
                    <a:pt x="507959" y="80858"/>
                    <a:pt x="554812" y="25434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CF008E3A-187C-41B6-A58F-402D45376090}"/>
                </a:ext>
              </a:extLst>
            </p:cNvPr>
            <p:cNvSpPr/>
            <p:nvPr/>
          </p:nvSpPr>
          <p:spPr>
            <a:xfrm>
              <a:off x="9460843" y="3732970"/>
              <a:ext cx="252519" cy="849359"/>
            </a:xfrm>
            <a:custGeom>
              <a:avLst/>
              <a:gdLst>
                <a:gd name="connsiteX0" fmla="*/ 205508 w 252519"/>
                <a:gd name="connsiteY0" fmla="*/ 0 h 849359"/>
                <a:gd name="connsiteX1" fmla="*/ 208364 w 252519"/>
                <a:gd name="connsiteY1" fmla="*/ 178843 h 849359"/>
                <a:gd name="connsiteX2" fmla="*/ 162082 w 252519"/>
                <a:gd name="connsiteY2" fmla="*/ 520529 h 849359"/>
                <a:gd name="connsiteX3" fmla="*/ 381 w 252519"/>
                <a:gd name="connsiteY3" fmla="*/ 746511 h 849359"/>
                <a:gd name="connsiteX4" fmla="*/ 15237 w 252519"/>
                <a:gd name="connsiteY4" fmla="*/ 849360 h 849359"/>
                <a:gd name="connsiteX5" fmla="*/ 57520 w 252519"/>
                <a:gd name="connsiteY5" fmla="*/ 643948 h 849359"/>
                <a:gd name="connsiteX6" fmla="*/ 158083 w 252519"/>
                <a:gd name="connsiteY6" fmla="*/ 542813 h 849359"/>
                <a:gd name="connsiteX7" fmla="*/ 220649 w 252519"/>
                <a:gd name="connsiteY7" fmla="*/ 470819 h 849359"/>
                <a:gd name="connsiteX8" fmla="*/ 238076 w 252519"/>
                <a:gd name="connsiteY8" fmla="*/ 140560 h 849359"/>
                <a:gd name="connsiteX9" fmla="*/ 248361 w 252519"/>
                <a:gd name="connsiteY9" fmla="*/ 51424 h 849359"/>
                <a:gd name="connsiteX10" fmla="*/ 205508 w 252519"/>
                <a:gd name="connsiteY10" fmla="*/ 0 h 84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2519" h="849359">
                  <a:moveTo>
                    <a:pt x="205508" y="0"/>
                  </a:moveTo>
                  <a:cubicBezTo>
                    <a:pt x="210936" y="41997"/>
                    <a:pt x="215792" y="106277"/>
                    <a:pt x="208364" y="178843"/>
                  </a:cubicBezTo>
                  <a:cubicBezTo>
                    <a:pt x="195223" y="307404"/>
                    <a:pt x="162082" y="520529"/>
                    <a:pt x="162082" y="520529"/>
                  </a:cubicBezTo>
                  <a:cubicBezTo>
                    <a:pt x="162082" y="520529"/>
                    <a:pt x="6095" y="617093"/>
                    <a:pt x="381" y="746511"/>
                  </a:cubicBezTo>
                  <a:cubicBezTo>
                    <a:pt x="-1618" y="791936"/>
                    <a:pt x="4381" y="824790"/>
                    <a:pt x="15237" y="849360"/>
                  </a:cubicBezTo>
                  <a:cubicBezTo>
                    <a:pt x="13237" y="795650"/>
                    <a:pt x="4952" y="710514"/>
                    <a:pt x="57520" y="643948"/>
                  </a:cubicBezTo>
                  <a:cubicBezTo>
                    <a:pt x="78089" y="618236"/>
                    <a:pt x="94088" y="612236"/>
                    <a:pt x="158083" y="542813"/>
                  </a:cubicBezTo>
                  <a:cubicBezTo>
                    <a:pt x="195223" y="502245"/>
                    <a:pt x="213792" y="482247"/>
                    <a:pt x="220649" y="470819"/>
                  </a:cubicBezTo>
                  <a:cubicBezTo>
                    <a:pt x="278930" y="373113"/>
                    <a:pt x="198937" y="301118"/>
                    <a:pt x="238076" y="140560"/>
                  </a:cubicBezTo>
                  <a:cubicBezTo>
                    <a:pt x="247790" y="100849"/>
                    <a:pt x="258646" y="79994"/>
                    <a:pt x="248361" y="51424"/>
                  </a:cubicBezTo>
                  <a:cubicBezTo>
                    <a:pt x="241219" y="30855"/>
                    <a:pt x="225220" y="13428"/>
                    <a:pt x="205508" y="0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8E4E7603-1048-49CD-8D63-25DBB6D4D3DC}"/>
                </a:ext>
              </a:extLst>
            </p:cNvPr>
            <p:cNvSpPr/>
            <p:nvPr/>
          </p:nvSpPr>
          <p:spPr>
            <a:xfrm>
              <a:off x="7695643" y="3102008"/>
              <a:ext cx="2394959" cy="685528"/>
            </a:xfrm>
            <a:custGeom>
              <a:avLst/>
              <a:gdLst>
                <a:gd name="connsiteX0" fmla="*/ 2062700 w 2394959"/>
                <a:gd name="connsiteY0" fmla="*/ 342985 h 685528"/>
                <a:gd name="connsiteX1" fmla="*/ 699668 w 2394959"/>
                <a:gd name="connsiteY1" fmla="*/ 24725 h 685528"/>
                <a:gd name="connsiteX2" fmla="*/ 101716 w 2394959"/>
                <a:gd name="connsiteY2" fmla="*/ 340986 h 685528"/>
                <a:gd name="connsiteX3" fmla="*/ 6581 w 2394959"/>
                <a:gd name="connsiteY3" fmla="*/ 306703 h 685528"/>
                <a:gd name="connsiteX4" fmla="*/ 10 w 2394959"/>
                <a:gd name="connsiteY4" fmla="*/ 301560 h 685528"/>
                <a:gd name="connsiteX5" fmla="*/ 17437 w 2394959"/>
                <a:gd name="connsiteY5" fmla="*/ 355270 h 685528"/>
                <a:gd name="connsiteX6" fmla="*/ 163426 w 2394959"/>
                <a:gd name="connsiteY6" fmla="*/ 391839 h 685528"/>
                <a:gd name="connsiteX7" fmla="*/ 546823 w 2394959"/>
                <a:gd name="connsiteY7" fmla="*/ 204997 h 685528"/>
                <a:gd name="connsiteX8" fmla="*/ 1288763 w 2394959"/>
                <a:gd name="connsiteY8" fmla="*/ 107576 h 685528"/>
                <a:gd name="connsiteX9" fmla="*/ 2394959 w 2394959"/>
                <a:gd name="connsiteY9" fmla="*/ 685529 h 685528"/>
                <a:gd name="connsiteX10" fmla="*/ 2062700 w 2394959"/>
                <a:gd name="connsiteY10" fmla="*/ 342985 h 68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94959" h="685528">
                  <a:moveTo>
                    <a:pt x="2062700" y="342985"/>
                  </a:moveTo>
                  <a:cubicBezTo>
                    <a:pt x="1607309" y="-7272"/>
                    <a:pt x="1001358" y="-34984"/>
                    <a:pt x="699668" y="24725"/>
                  </a:cubicBezTo>
                  <a:cubicBezTo>
                    <a:pt x="397978" y="84721"/>
                    <a:pt x="188566" y="311845"/>
                    <a:pt x="101716" y="340986"/>
                  </a:cubicBezTo>
                  <a:cubicBezTo>
                    <a:pt x="14866" y="370126"/>
                    <a:pt x="36864" y="319844"/>
                    <a:pt x="6581" y="306703"/>
                  </a:cubicBezTo>
                  <a:cubicBezTo>
                    <a:pt x="4010" y="305560"/>
                    <a:pt x="2010" y="303846"/>
                    <a:pt x="10" y="301560"/>
                  </a:cubicBezTo>
                  <a:cubicBezTo>
                    <a:pt x="-275" y="316702"/>
                    <a:pt x="5438" y="338986"/>
                    <a:pt x="17437" y="355270"/>
                  </a:cubicBezTo>
                  <a:cubicBezTo>
                    <a:pt x="51720" y="401838"/>
                    <a:pt x="133428" y="394695"/>
                    <a:pt x="163426" y="391839"/>
                  </a:cubicBezTo>
                  <a:cubicBezTo>
                    <a:pt x="336269" y="376697"/>
                    <a:pt x="494542" y="243851"/>
                    <a:pt x="546823" y="204997"/>
                  </a:cubicBezTo>
                  <a:cubicBezTo>
                    <a:pt x="737950" y="62437"/>
                    <a:pt x="973074" y="81578"/>
                    <a:pt x="1288763" y="107576"/>
                  </a:cubicBezTo>
                  <a:cubicBezTo>
                    <a:pt x="1832433" y="152429"/>
                    <a:pt x="2194690" y="524685"/>
                    <a:pt x="2394959" y="685529"/>
                  </a:cubicBezTo>
                  <a:cubicBezTo>
                    <a:pt x="2306680" y="566681"/>
                    <a:pt x="2196689" y="446120"/>
                    <a:pt x="2062700" y="342985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28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7014342" y="3563341"/>
              <a:ext cx="418790" cy="386662"/>
              <a:chOff x="7014342" y="3563341"/>
              <a:chExt cx="418790" cy="386662"/>
            </a:xfrm>
            <a:solidFill>
              <a:srgbClr val="FFDDF3"/>
            </a:solidFill>
          </p:grpSpPr>
          <p:sp>
            <p:nvSpPr>
              <p:cNvPr id="1329" name="Freeform: Shape 1328">
                <a:extLst>
                  <a:ext uri="{FF2B5EF4-FFF2-40B4-BE49-F238E27FC236}">
                    <a16:creationId xmlns:a16="http://schemas.microsoft.com/office/drawing/2014/main" id="{2A08DE5E-DE1E-4D84-9DCF-3278F7A48099}"/>
                  </a:ext>
                </a:extLst>
              </p:cNvPr>
              <p:cNvSpPr/>
              <p:nvPr/>
            </p:nvSpPr>
            <p:spPr>
              <a:xfrm>
                <a:off x="7099987" y="3563341"/>
                <a:ext cx="293404" cy="63923"/>
              </a:xfrm>
              <a:custGeom>
                <a:avLst/>
                <a:gdLst>
                  <a:gd name="connsiteX0" fmla="*/ 293405 w 293404"/>
                  <a:gd name="connsiteY0" fmla="*/ 63923 h 63923"/>
                  <a:gd name="connsiteX1" fmla="*/ 229696 w 293404"/>
                  <a:gd name="connsiteY1" fmla="*/ 19070 h 63923"/>
                  <a:gd name="connsiteX2" fmla="*/ 153130 w 293404"/>
                  <a:gd name="connsiteY2" fmla="*/ 3071 h 63923"/>
                  <a:gd name="connsiteX3" fmla="*/ 74280 w 293404"/>
                  <a:gd name="connsiteY3" fmla="*/ 5928 h 63923"/>
                  <a:gd name="connsiteX4" fmla="*/ 286 w 293404"/>
                  <a:gd name="connsiteY4" fmla="*/ 31069 h 63923"/>
                  <a:gd name="connsiteX5" fmla="*/ 0 w 293404"/>
                  <a:gd name="connsiteY5" fmla="*/ 30783 h 63923"/>
                  <a:gd name="connsiteX6" fmla="*/ 73708 w 293404"/>
                  <a:gd name="connsiteY6" fmla="*/ 2500 h 63923"/>
                  <a:gd name="connsiteX7" fmla="*/ 153130 w 293404"/>
                  <a:gd name="connsiteY7" fmla="*/ 1357 h 63923"/>
                  <a:gd name="connsiteX8" fmla="*/ 230838 w 293404"/>
                  <a:gd name="connsiteY8" fmla="*/ 16784 h 63923"/>
                  <a:gd name="connsiteX9" fmla="*/ 293405 w 293404"/>
                  <a:gd name="connsiteY9" fmla="*/ 63923 h 63923"/>
                  <a:gd name="connsiteX10" fmla="*/ 293405 w 293404"/>
                  <a:gd name="connsiteY10" fmla="*/ 63923 h 6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3404" h="63923">
                    <a:moveTo>
                      <a:pt x="293405" y="63923"/>
                    </a:moveTo>
                    <a:cubicBezTo>
                      <a:pt x="275406" y="44496"/>
                      <a:pt x="253694" y="29069"/>
                      <a:pt x="229696" y="19070"/>
                    </a:cubicBezTo>
                    <a:cubicBezTo>
                      <a:pt x="205698" y="7928"/>
                      <a:pt x="179414" y="3357"/>
                      <a:pt x="153130" y="3071"/>
                    </a:cubicBezTo>
                    <a:cubicBezTo>
                      <a:pt x="126847" y="2785"/>
                      <a:pt x="100278" y="2785"/>
                      <a:pt x="74280" y="5928"/>
                    </a:cubicBezTo>
                    <a:cubicBezTo>
                      <a:pt x="48282" y="9356"/>
                      <a:pt x="22855" y="16784"/>
                      <a:pt x="286" y="31069"/>
                    </a:cubicBezTo>
                    <a:lnTo>
                      <a:pt x="0" y="30783"/>
                    </a:lnTo>
                    <a:cubicBezTo>
                      <a:pt x="21427" y="15070"/>
                      <a:pt x="47425" y="6214"/>
                      <a:pt x="73708" y="2500"/>
                    </a:cubicBezTo>
                    <a:cubicBezTo>
                      <a:pt x="99992" y="-1214"/>
                      <a:pt x="126561" y="-71"/>
                      <a:pt x="153130" y="1357"/>
                    </a:cubicBezTo>
                    <a:cubicBezTo>
                      <a:pt x="179414" y="3071"/>
                      <a:pt x="205983" y="7071"/>
                      <a:pt x="230838" y="16784"/>
                    </a:cubicBezTo>
                    <a:cubicBezTo>
                      <a:pt x="255408" y="26212"/>
                      <a:pt x="277406" y="42782"/>
                      <a:pt x="293405" y="63923"/>
                    </a:cubicBezTo>
                    <a:lnTo>
                      <a:pt x="293405" y="63923"/>
                    </a:ln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0" name="Freeform: Shape 1329">
                <a:extLst>
                  <a:ext uri="{FF2B5EF4-FFF2-40B4-BE49-F238E27FC236}">
                    <a16:creationId xmlns:a16="http://schemas.microsoft.com/office/drawing/2014/main" id="{D20CEB37-146C-4713-8927-19C479B700B4}"/>
                  </a:ext>
                </a:extLst>
              </p:cNvPr>
              <p:cNvSpPr/>
              <p:nvPr/>
            </p:nvSpPr>
            <p:spPr>
              <a:xfrm>
                <a:off x="7393106" y="3626693"/>
                <a:ext cx="40027" cy="155415"/>
              </a:xfrm>
              <a:custGeom>
                <a:avLst/>
                <a:gdLst>
                  <a:gd name="connsiteX0" fmla="*/ 34569 w 40027"/>
                  <a:gd name="connsiteY0" fmla="*/ 155416 h 155415"/>
                  <a:gd name="connsiteX1" fmla="*/ 37426 w 40027"/>
                  <a:gd name="connsiteY1" fmla="*/ 114562 h 155415"/>
                  <a:gd name="connsiteX2" fmla="*/ 33997 w 40027"/>
                  <a:gd name="connsiteY2" fmla="*/ 73994 h 155415"/>
                  <a:gd name="connsiteX3" fmla="*/ 0 w 40027"/>
                  <a:gd name="connsiteY3" fmla="*/ 286 h 155415"/>
                  <a:gd name="connsiteX4" fmla="*/ 286 w 40027"/>
                  <a:gd name="connsiteY4" fmla="*/ 0 h 155415"/>
                  <a:gd name="connsiteX5" fmla="*/ 35711 w 40027"/>
                  <a:gd name="connsiteY5" fmla="*/ 73423 h 155415"/>
                  <a:gd name="connsiteX6" fmla="*/ 39997 w 40027"/>
                  <a:gd name="connsiteY6" fmla="*/ 114276 h 155415"/>
                  <a:gd name="connsiteX7" fmla="*/ 34569 w 40027"/>
                  <a:gd name="connsiteY7" fmla="*/ 155130 h 155415"/>
                  <a:gd name="connsiteX8" fmla="*/ 34569 w 40027"/>
                  <a:gd name="connsiteY8" fmla="*/ 155416 h 155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27" h="155415">
                    <a:moveTo>
                      <a:pt x="34569" y="155416"/>
                    </a:moveTo>
                    <a:cubicBezTo>
                      <a:pt x="36283" y="141703"/>
                      <a:pt x="37140" y="128275"/>
                      <a:pt x="37426" y="114562"/>
                    </a:cubicBezTo>
                    <a:cubicBezTo>
                      <a:pt x="38283" y="100849"/>
                      <a:pt x="37426" y="87136"/>
                      <a:pt x="33997" y="73994"/>
                    </a:cubicBezTo>
                    <a:cubicBezTo>
                      <a:pt x="27141" y="47710"/>
                      <a:pt x="15999" y="22570"/>
                      <a:pt x="0" y="286"/>
                    </a:cubicBezTo>
                    <a:lnTo>
                      <a:pt x="286" y="0"/>
                    </a:lnTo>
                    <a:cubicBezTo>
                      <a:pt x="19713" y="19713"/>
                      <a:pt x="31140" y="46282"/>
                      <a:pt x="35711" y="73423"/>
                    </a:cubicBezTo>
                    <a:cubicBezTo>
                      <a:pt x="37426" y="87136"/>
                      <a:pt x="39425" y="100563"/>
                      <a:pt x="39997" y="114276"/>
                    </a:cubicBezTo>
                    <a:cubicBezTo>
                      <a:pt x="40282" y="127990"/>
                      <a:pt x="38568" y="141988"/>
                      <a:pt x="34569" y="155130"/>
                    </a:cubicBezTo>
                    <a:lnTo>
                      <a:pt x="34569" y="155416"/>
                    </a:ln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1" name="Freeform: Shape 1330">
                <a:extLst>
                  <a:ext uri="{FF2B5EF4-FFF2-40B4-BE49-F238E27FC236}">
                    <a16:creationId xmlns:a16="http://schemas.microsoft.com/office/drawing/2014/main" id="{6DD04F81-F6E6-4971-8D72-EA4510CA6049}"/>
                  </a:ext>
                </a:extLst>
              </p:cNvPr>
              <p:cNvSpPr/>
              <p:nvPr/>
            </p:nvSpPr>
            <p:spPr>
              <a:xfrm>
                <a:off x="7014342" y="3594124"/>
                <a:ext cx="413618" cy="355879"/>
              </a:xfrm>
              <a:custGeom>
                <a:avLst/>
                <a:gdLst>
                  <a:gd name="connsiteX0" fmla="*/ 85930 w 413618"/>
                  <a:gd name="connsiteY0" fmla="*/ 0 h 355879"/>
                  <a:gd name="connsiteX1" fmla="*/ 3080 w 413618"/>
                  <a:gd name="connsiteY1" fmla="*/ 169700 h 355879"/>
                  <a:gd name="connsiteX2" fmla="*/ 31935 w 413618"/>
                  <a:gd name="connsiteY2" fmla="*/ 262550 h 355879"/>
                  <a:gd name="connsiteX3" fmla="*/ 104215 w 413618"/>
                  <a:gd name="connsiteY3" fmla="*/ 327973 h 355879"/>
                  <a:gd name="connsiteX4" fmla="*/ 293913 w 413618"/>
                  <a:gd name="connsiteY4" fmla="*/ 334259 h 355879"/>
                  <a:gd name="connsiteX5" fmla="*/ 371621 w 413618"/>
                  <a:gd name="connsiteY5" fmla="*/ 275978 h 355879"/>
                  <a:gd name="connsiteX6" fmla="*/ 413332 w 413618"/>
                  <a:gd name="connsiteY6" fmla="*/ 187985 h 355879"/>
                  <a:gd name="connsiteX7" fmla="*/ 413618 w 413618"/>
                  <a:gd name="connsiteY7" fmla="*/ 187985 h 355879"/>
                  <a:gd name="connsiteX8" fmla="*/ 373336 w 413618"/>
                  <a:gd name="connsiteY8" fmla="*/ 277692 h 355879"/>
                  <a:gd name="connsiteX9" fmla="*/ 295056 w 413618"/>
                  <a:gd name="connsiteY9" fmla="*/ 337401 h 355879"/>
                  <a:gd name="connsiteX10" fmla="*/ 103072 w 413618"/>
                  <a:gd name="connsiteY10" fmla="*/ 329688 h 355879"/>
                  <a:gd name="connsiteX11" fmla="*/ 30792 w 413618"/>
                  <a:gd name="connsiteY11" fmla="*/ 263407 h 355879"/>
                  <a:gd name="connsiteX12" fmla="*/ 223 w 413618"/>
                  <a:gd name="connsiteY12" fmla="*/ 169986 h 355879"/>
                  <a:gd name="connsiteX13" fmla="*/ 21078 w 413618"/>
                  <a:gd name="connsiteY13" fmla="*/ 73708 h 355879"/>
                  <a:gd name="connsiteX14" fmla="*/ 85930 w 413618"/>
                  <a:gd name="connsiteY14" fmla="*/ 0 h 355879"/>
                  <a:gd name="connsiteX15" fmla="*/ 85930 w 413618"/>
                  <a:gd name="connsiteY15" fmla="*/ 0 h 355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3618" h="355879">
                    <a:moveTo>
                      <a:pt x="85930" y="0"/>
                    </a:moveTo>
                    <a:cubicBezTo>
                      <a:pt x="31649" y="37997"/>
                      <a:pt x="1651" y="104563"/>
                      <a:pt x="3080" y="169700"/>
                    </a:cubicBezTo>
                    <a:cubicBezTo>
                      <a:pt x="4223" y="202269"/>
                      <a:pt x="14508" y="234838"/>
                      <a:pt x="31935" y="262550"/>
                    </a:cubicBezTo>
                    <a:cubicBezTo>
                      <a:pt x="49648" y="290262"/>
                      <a:pt x="75074" y="312546"/>
                      <a:pt x="104215" y="327973"/>
                    </a:cubicBezTo>
                    <a:cubicBezTo>
                      <a:pt x="162210" y="358828"/>
                      <a:pt x="234204" y="360828"/>
                      <a:pt x="293913" y="334259"/>
                    </a:cubicBezTo>
                    <a:cubicBezTo>
                      <a:pt x="323625" y="320831"/>
                      <a:pt x="351052" y="301690"/>
                      <a:pt x="371621" y="275978"/>
                    </a:cubicBezTo>
                    <a:cubicBezTo>
                      <a:pt x="392191" y="250551"/>
                      <a:pt x="406476" y="219982"/>
                      <a:pt x="413332" y="187985"/>
                    </a:cubicBezTo>
                    <a:lnTo>
                      <a:pt x="413618" y="187985"/>
                    </a:lnTo>
                    <a:cubicBezTo>
                      <a:pt x="407904" y="220554"/>
                      <a:pt x="393905" y="251408"/>
                      <a:pt x="373336" y="277692"/>
                    </a:cubicBezTo>
                    <a:cubicBezTo>
                      <a:pt x="353052" y="303975"/>
                      <a:pt x="325340" y="324259"/>
                      <a:pt x="295056" y="337401"/>
                    </a:cubicBezTo>
                    <a:cubicBezTo>
                      <a:pt x="234490" y="364256"/>
                      <a:pt x="161067" y="361971"/>
                      <a:pt x="103072" y="329688"/>
                    </a:cubicBezTo>
                    <a:cubicBezTo>
                      <a:pt x="73931" y="313975"/>
                      <a:pt x="49076" y="290834"/>
                      <a:pt x="30792" y="263407"/>
                    </a:cubicBezTo>
                    <a:cubicBezTo>
                      <a:pt x="12793" y="235695"/>
                      <a:pt x="1937" y="203126"/>
                      <a:pt x="223" y="169986"/>
                    </a:cubicBezTo>
                    <a:cubicBezTo>
                      <a:pt x="-1491" y="136846"/>
                      <a:pt x="6794" y="103420"/>
                      <a:pt x="21078" y="73708"/>
                    </a:cubicBezTo>
                    <a:cubicBezTo>
                      <a:pt x="35934" y="43996"/>
                      <a:pt x="57933" y="17713"/>
                      <a:pt x="85930" y="0"/>
                    </a:cubicBezTo>
                    <a:lnTo>
                      <a:pt x="85930" y="0"/>
                    </a:ln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D2F2CE2E-95B1-42B5-9C68-1B05247ADCCC}"/>
                </a:ext>
              </a:extLst>
            </p:cNvPr>
            <p:cNvSpPr/>
            <p:nvPr/>
          </p:nvSpPr>
          <p:spPr>
            <a:xfrm>
              <a:off x="7032850" y="3650691"/>
              <a:ext cx="399289" cy="298117"/>
            </a:xfrm>
            <a:custGeom>
              <a:avLst/>
              <a:gdLst>
                <a:gd name="connsiteX0" fmla="*/ 395682 w 399289"/>
                <a:gd name="connsiteY0" fmla="*/ 50853 h 298117"/>
                <a:gd name="connsiteX1" fmla="*/ 376541 w 399289"/>
                <a:gd name="connsiteY1" fmla="*/ 0 h 298117"/>
                <a:gd name="connsiteX2" fmla="*/ 365970 w 399289"/>
                <a:gd name="connsiteY2" fmla="*/ 160844 h 298117"/>
                <a:gd name="connsiteX3" fmla="*/ 245980 w 399289"/>
                <a:gd name="connsiteY3" fmla="*/ 264264 h 298117"/>
                <a:gd name="connsiteX4" fmla="*/ 130847 w 399289"/>
                <a:gd name="connsiteY4" fmla="*/ 271407 h 298117"/>
                <a:gd name="connsiteX5" fmla="*/ 0 w 399289"/>
                <a:gd name="connsiteY5" fmla="*/ 182271 h 298117"/>
                <a:gd name="connsiteX6" fmla="*/ 24855 w 399289"/>
                <a:gd name="connsiteY6" fmla="*/ 222553 h 298117"/>
                <a:gd name="connsiteX7" fmla="*/ 160273 w 399289"/>
                <a:gd name="connsiteY7" fmla="*/ 296262 h 298117"/>
                <a:gd name="connsiteX8" fmla="*/ 309118 w 399289"/>
                <a:gd name="connsiteY8" fmla="*/ 261693 h 298117"/>
                <a:gd name="connsiteX9" fmla="*/ 395397 w 399289"/>
                <a:gd name="connsiteY9" fmla="*/ 131704 h 298117"/>
                <a:gd name="connsiteX10" fmla="*/ 395682 w 399289"/>
                <a:gd name="connsiteY10" fmla="*/ 50853 h 29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9289" h="298117">
                  <a:moveTo>
                    <a:pt x="395682" y="50853"/>
                  </a:moveTo>
                  <a:cubicBezTo>
                    <a:pt x="391968" y="33140"/>
                    <a:pt x="385397" y="15999"/>
                    <a:pt x="376541" y="0"/>
                  </a:cubicBezTo>
                  <a:cubicBezTo>
                    <a:pt x="380255" y="31426"/>
                    <a:pt x="397396" y="96278"/>
                    <a:pt x="365970" y="160844"/>
                  </a:cubicBezTo>
                  <a:cubicBezTo>
                    <a:pt x="330545" y="233410"/>
                    <a:pt x="255408" y="260836"/>
                    <a:pt x="245980" y="264264"/>
                  </a:cubicBezTo>
                  <a:cubicBezTo>
                    <a:pt x="188842" y="284263"/>
                    <a:pt x="139989" y="273692"/>
                    <a:pt x="130847" y="271407"/>
                  </a:cubicBezTo>
                  <a:cubicBezTo>
                    <a:pt x="67994" y="256836"/>
                    <a:pt x="25712" y="213126"/>
                    <a:pt x="0" y="182271"/>
                  </a:cubicBezTo>
                  <a:cubicBezTo>
                    <a:pt x="6571" y="196841"/>
                    <a:pt x="14570" y="210554"/>
                    <a:pt x="24855" y="222553"/>
                  </a:cubicBezTo>
                  <a:cubicBezTo>
                    <a:pt x="58567" y="264264"/>
                    <a:pt x="109134" y="290262"/>
                    <a:pt x="160273" y="296262"/>
                  </a:cubicBezTo>
                  <a:cubicBezTo>
                    <a:pt x="211697" y="303118"/>
                    <a:pt x="265121" y="290834"/>
                    <a:pt x="309118" y="261693"/>
                  </a:cubicBezTo>
                  <a:cubicBezTo>
                    <a:pt x="353686" y="233124"/>
                    <a:pt x="385112" y="184556"/>
                    <a:pt x="395397" y="131704"/>
                  </a:cubicBezTo>
                  <a:cubicBezTo>
                    <a:pt x="400539" y="105134"/>
                    <a:pt x="400539" y="77708"/>
                    <a:pt x="395682" y="50853"/>
                  </a:cubicBezTo>
                  <a:close/>
                </a:path>
              </a:pathLst>
            </a:custGeom>
            <a:solidFill>
              <a:srgbClr val="2A3E33">
                <a:alpha val="62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E71DFA82-65CF-4B29-91EE-7C012D4DC6FF}"/>
                </a:ext>
              </a:extLst>
            </p:cNvPr>
            <p:cNvSpPr/>
            <p:nvPr/>
          </p:nvSpPr>
          <p:spPr>
            <a:xfrm>
              <a:off x="9501358" y="5195254"/>
              <a:ext cx="358690" cy="485272"/>
            </a:xfrm>
            <a:custGeom>
              <a:avLst/>
              <a:gdLst>
                <a:gd name="connsiteX0" fmla="*/ 220988 w 358690"/>
                <a:gd name="connsiteY0" fmla="*/ 478131 h 485272"/>
                <a:gd name="connsiteX1" fmla="*/ 160421 w 358690"/>
                <a:gd name="connsiteY1" fmla="*/ 447847 h 485272"/>
                <a:gd name="connsiteX2" fmla="*/ 154993 w 358690"/>
                <a:gd name="connsiteY2" fmla="*/ 442991 h 485272"/>
                <a:gd name="connsiteX3" fmla="*/ 33860 w 358690"/>
                <a:gd name="connsiteY3" fmla="*/ 195296 h 485272"/>
                <a:gd name="connsiteX4" fmla="*/ 256699 w 358690"/>
                <a:gd name="connsiteY4" fmla="*/ 31881 h 485272"/>
                <a:gd name="connsiteX5" fmla="*/ 358691 w 358690"/>
                <a:gd name="connsiteY5" fmla="*/ 56451 h 485272"/>
                <a:gd name="connsiteX6" fmla="*/ 308980 w 358690"/>
                <a:gd name="connsiteY6" fmla="*/ 19025 h 485272"/>
                <a:gd name="connsiteX7" fmla="*/ 72714 w 358690"/>
                <a:gd name="connsiteY7" fmla="*/ 60736 h 485272"/>
                <a:gd name="connsiteX8" fmla="*/ 1862 w 358690"/>
                <a:gd name="connsiteY8" fmla="*/ 258720 h 485272"/>
                <a:gd name="connsiteX9" fmla="*/ 240700 w 358690"/>
                <a:gd name="connsiteY9" fmla="*/ 485273 h 485272"/>
                <a:gd name="connsiteX10" fmla="*/ 220988 w 358690"/>
                <a:gd name="connsiteY10" fmla="*/ 478131 h 48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8690" h="485272">
                  <a:moveTo>
                    <a:pt x="220988" y="478131"/>
                  </a:moveTo>
                  <a:cubicBezTo>
                    <a:pt x="198132" y="470988"/>
                    <a:pt x="175277" y="460989"/>
                    <a:pt x="160421" y="447847"/>
                  </a:cubicBezTo>
                  <a:cubicBezTo>
                    <a:pt x="158707" y="446419"/>
                    <a:pt x="156707" y="444705"/>
                    <a:pt x="154993" y="442991"/>
                  </a:cubicBezTo>
                  <a:cubicBezTo>
                    <a:pt x="65000" y="382138"/>
                    <a:pt x="12147" y="284432"/>
                    <a:pt x="33860" y="195296"/>
                  </a:cubicBezTo>
                  <a:cubicBezTo>
                    <a:pt x="71857" y="41023"/>
                    <a:pt x="186419" y="33881"/>
                    <a:pt x="256699" y="31881"/>
                  </a:cubicBezTo>
                  <a:cubicBezTo>
                    <a:pt x="285554" y="31024"/>
                    <a:pt x="323265" y="38452"/>
                    <a:pt x="358691" y="56451"/>
                  </a:cubicBezTo>
                  <a:cubicBezTo>
                    <a:pt x="346120" y="43023"/>
                    <a:pt x="329836" y="29595"/>
                    <a:pt x="308980" y="19025"/>
                  </a:cubicBezTo>
                  <a:cubicBezTo>
                    <a:pt x="230701" y="-20400"/>
                    <a:pt x="133281" y="5312"/>
                    <a:pt x="72714" y="60736"/>
                  </a:cubicBezTo>
                  <a:cubicBezTo>
                    <a:pt x="13862" y="114446"/>
                    <a:pt x="-6708" y="194439"/>
                    <a:pt x="1862" y="258720"/>
                  </a:cubicBezTo>
                  <a:cubicBezTo>
                    <a:pt x="15861" y="362140"/>
                    <a:pt x="109282" y="453561"/>
                    <a:pt x="240700" y="485273"/>
                  </a:cubicBezTo>
                  <a:cubicBezTo>
                    <a:pt x="233844" y="483273"/>
                    <a:pt x="227273" y="480702"/>
                    <a:pt x="220988" y="478131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12A6278D-F1A5-4BED-BBB9-D1343BD0B979}"/>
                </a:ext>
              </a:extLst>
            </p:cNvPr>
            <p:cNvSpPr/>
            <p:nvPr/>
          </p:nvSpPr>
          <p:spPr>
            <a:xfrm>
              <a:off x="9747487" y="5377598"/>
              <a:ext cx="113879" cy="106944"/>
            </a:xfrm>
            <a:custGeom>
              <a:avLst/>
              <a:gdLst>
                <a:gd name="connsiteX0" fmla="*/ 73137 w 113879"/>
                <a:gd name="connsiteY0" fmla="*/ 106945 h 106944"/>
                <a:gd name="connsiteX1" fmla="*/ 108563 w 113879"/>
                <a:gd name="connsiteY1" fmla="*/ 93231 h 106944"/>
                <a:gd name="connsiteX2" fmla="*/ 78565 w 113879"/>
                <a:gd name="connsiteY2" fmla="*/ 14381 h 106944"/>
                <a:gd name="connsiteX3" fmla="*/ 0 w 113879"/>
                <a:gd name="connsiteY3" fmla="*/ 6667 h 106944"/>
                <a:gd name="connsiteX4" fmla="*/ 90564 w 113879"/>
                <a:gd name="connsiteY4" fmla="*/ 62377 h 106944"/>
                <a:gd name="connsiteX5" fmla="*/ 73137 w 113879"/>
                <a:gd name="connsiteY5" fmla="*/ 106945 h 10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879" h="106944">
                  <a:moveTo>
                    <a:pt x="73137" y="106945"/>
                  </a:moveTo>
                  <a:cubicBezTo>
                    <a:pt x="87707" y="106945"/>
                    <a:pt x="101420" y="103516"/>
                    <a:pt x="108563" y="93231"/>
                  </a:cubicBezTo>
                  <a:cubicBezTo>
                    <a:pt x="123419" y="72090"/>
                    <a:pt x="105134" y="32379"/>
                    <a:pt x="78565" y="14381"/>
                  </a:cubicBezTo>
                  <a:cubicBezTo>
                    <a:pt x="54567" y="-1904"/>
                    <a:pt x="19427" y="-4189"/>
                    <a:pt x="0" y="6667"/>
                  </a:cubicBezTo>
                  <a:cubicBezTo>
                    <a:pt x="37997" y="5810"/>
                    <a:pt x="75708" y="22094"/>
                    <a:pt x="90564" y="62377"/>
                  </a:cubicBezTo>
                  <a:cubicBezTo>
                    <a:pt x="99706" y="86661"/>
                    <a:pt x="88850" y="100088"/>
                    <a:pt x="73137" y="106945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BBAFC8A3-A054-4C19-94B8-312BFBE13FBE}"/>
                </a:ext>
              </a:extLst>
            </p:cNvPr>
            <p:cNvSpPr/>
            <p:nvPr/>
          </p:nvSpPr>
          <p:spPr>
            <a:xfrm>
              <a:off x="9552501" y="5328841"/>
              <a:ext cx="484962" cy="357691"/>
            </a:xfrm>
            <a:custGeom>
              <a:avLst/>
              <a:gdLst>
                <a:gd name="connsiteX0" fmla="*/ 109278 w 484962"/>
                <a:gd name="connsiteY0" fmla="*/ 307118 h 357691"/>
                <a:gd name="connsiteX1" fmla="*/ 484962 w 484962"/>
                <a:gd name="connsiteY1" fmla="*/ 257122 h 357691"/>
                <a:gd name="connsiteX2" fmla="*/ 263551 w 484962"/>
                <a:gd name="connsiteY2" fmla="*/ 325402 h 357691"/>
                <a:gd name="connsiteX3" fmla="*/ 48712 w 484962"/>
                <a:gd name="connsiteY3" fmla="*/ 211126 h 357691"/>
                <a:gd name="connsiteX4" fmla="*/ 48712 w 484962"/>
                <a:gd name="connsiteY4" fmla="*/ 71137 h 357691"/>
                <a:gd name="connsiteX5" fmla="*/ 91280 w 484962"/>
                <a:gd name="connsiteY5" fmla="*/ 0 h 357691"/>
                <a:gd name="connsiteX6" fmla="*/ 75852 w 484962"/>
                <a:gd name="connsiteY6" fmla="*/ 9142 h 357691"/>
                <a:gd name="connsiteX7" fmla="*/ 109278 w 484962"/>
                <a:gd name="connsiteY7" fmla="*/ 307118 h 357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962" h="357691">
                  <a:moveTo>
                    <a:pt x="109278" y="307118"/>
                  </a:moveTo>
                  <a:cubicBezTo>
                    <a:pt x="245553" y="407110"/>
                    <a:pt x="411825" y="341972"/>
                    <a:pt x="484962" y="257122"/>
                  </a:cubicBezTo>
                  <a:cubicBezTo>
                    <a:pt x="438109" y="286548"/>
                    <a:pt x="358401" y="333401"/>
                    <a:pt x="263551" y="325402"/>
                  </a:cubicBezTo>
                  <a:cubicBezTo>
                    <a:pt x="231268" y="322545"/>
                    <a:pt x="93565" y="310832"/>
                    <a:pt x="48712" y="211126"/>
                  </a:cubicBezTo>
                  <a:cubicBezTo>
                    <a:pt x="21000" y="149702"/>
                    <a:pt x="43284" y="86564"/>
                    <a:pt x="48712" y="71137"/>
                  </a:cubicBezTo>
                  <a:cubicBezTo>
                    <a:pt x="58997" y="41711"/>
                    <a:pt x="74710" y="18570"/>
                    <a:pt x="91280" y="0"/>
                  </a:cubicBezTo>
                  <a:cubicBezTo>
                    <a:pt x="86137" y="2857"/>
                    <a:pt x="80995" y="5714"/>
                    <a:pt x="75852" y="9142"/>
                  </a:cubicBezTo>
                  <a:cubicBezTo>
                    <a:pt x="-22425" y="73137"/>
                    <a:pt x="-38996" y="198555"/>
                    <a:pt x="109278" y="307118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33A4AC17-0E45-4893-B79E-A1AC752CAF30}"/>
                </a:ext>
              </a:extLst>
            </p:cNvPr>
            <p:cNvSpPr/>
            <p:nvPr/>
          </p:nvSpPr>
          <p:spPr>
            <a:xfrm>
              <a:off x="9828052" y="5308557"/>
              <a:ext cx="99854" cy="216553"/>
            </a:xfrm>
            <a:custGeom>
              <a:avLst/>
              <a:gdLst>
                <a:gd name="connsiteX0" fmla="*/ 42568 w 99854"/>
                <a:gd name="connsiteY0" fmla="*/ 40568 h 216553"/>
                <a:gd name="connsiteX1" fmla="*/ 83136 w 99854"/>
                <a:gd name="connsiteY1" fmla="*/ 131132 h 216553"/>
                <a:gd name="connsiteX2" fmla="*/ 75137 w 99854"/>
                <a:gd name="connsiteY2" fmla="*/ 216554 h 216553"/>
                <a:gd name="connsiteX3" fmla="*/ 84565 w 99854"/>
                <a:gd name="connsiteY3" fmla="*/ 78851 h 216553"/>
                <a:gd name="connsiteX4" fmla="*/ 0 w 99854"/>
                <a:gd name="connsiteY4" fmla="*/ 0 h 216553"/>
                <a:gd name="connsiteX5" fmla="*/ 42568 w 99854"/>
                <a:gd name="connsiteY5" fmla="*/ 40568 h 21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854" h="216553">
                  <a:moveTo>
                    <a:pt x="42568" y="40568"/>
                  </a:moveTo>
                  <a:cubicBezTo>
                    <a:pt x="51710" y="52282"/>
                    <a:pt x="76279" y="84565"/>
                    <a:pt x="83136" y="131132"/>
                  </a:cubicBezTo>
                  <a:cubicBezTo>
                    <a:pt x="88279" y="166272"/>
                    <a:pt x="81422" y="196270"/>
                    <a:pt x="75137" y="216554"/>
                  </a:cubicBezTo>
                  <a:cubicBezTo>
                    <a:pt x="101135" y="188271"/>
                    <a:pt x="110277" y="141131"/>
                    <a:pt x="84565" y="78851"/>
                  </a:cubicBezTo>
                  <a:cubicBezTo>
                    <a:pt x="68280" y="39140"/>
                    <a:pt x="37425" y="13428"/>
                    <a:pt x="0" y="0"/>
                  </a:cubicBezTo>
                  <a:cubicBezTo>
                    <a:pt x="13428" y="9428"/>
                    <a:pt x="28569" y="22570"/>
                    <a:pt x="42568" y="40568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4B78A675-29D9-421D-929C-5D4F6FF1364D}"/>
                </a:ext>
              </a:extLst>
            </p:cNvPr>
            <p:cNvSpPr/>
            <p:nvPr/>
          </p:nvSpPr>
          <p:spPr>
            <a:xfrm>
              <a:off x="9899760" y="3721257"/>
              <a:ext cx="283689" cy="825647"/>
            </a:xfrm>
            <a:custGeom>
              <a:avLst/>
              <a:gdLst>
                <a:gd name="connsiteX0" fmla="*/ 269121 w 283689"/>
                <a:gd name="connsiteY0" fmla="*/ 603665 h 825647"/>
                <a:gd name="connsiteX1" fmla="*/ 183699 w 283689"/>
                <a:gd name="connsiteY1" fmla="*/ 470533 h 825647"/>
                <a:gd name="connsiteX2" fmla="*/ 37140 w 283689"/>
                <a:gd name="connsiteY2" fmla="*/ 107706 h 825647"/>
                <a:gd name="connsiteX3" fmla="*/ 3714 w 283689"/>
                <a:gd name="connsiteY3" fmla="*/ 0 h 825647"/>
                <a:gd name="connsiteX4" fmla="*/ 0 w 283689"/>
                <a:gd name="connsiteY4" fmla="*/ 21998 h 825647"/>
                <a:gd name="connsiteX5" fmla="*/ 0 w 283689"/>
                <a:gd name="connsiteY5" fmla="*/ 21998 h 825647"/>
                <a:gd name="connsiteX6" fmla="*/ 43425 w 283689"/>
                <a:gd name="connsiteY6" fmla="*/ 225410 h 825647"/>
                <a:gd name="connsiteX7" fmla="*/ 128275 w 283689"/>
                <a:gd name="connsiteY7" fmla="*/ 473390 h 825647"/>
                <a:gd name="connsiteX8" fmla="*/ 146274 w 283689"/>
                <a:gd name="connsiteY8" fmla="*/ 567383 h 825647"/>
                <a:gd name="connsiteX9" fmla="*/ 32855 w 283689"/>
                <a:gd name="connsiteY9" fmla="*/ 517958 h 825647"/>
                <a:gd name="connsiteX10" fmla="*/ 34283 w 283689"/>
                <a:gd name="connsiteY10" fmla="*/ 528814 h 825647"/>
                <a:gd name="connsiteX11" fmla="*/ 83708 w 283689"/>
                <a:gd name="connsiteY11" fmla="*/ 635091 h 825647"/>
                <a:gd name="connsiteX12" fmla="*/ 270835 w 283689"/>
                <a:gd name="connsiteY12" fmla="*/ 825647 h 825647"/>
                <a:gd name="connsiteX13" fmla="*/ 269121 w 283689"/>
                <a:gd name="connsiteY13" fmla="*/ 603665 h 82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3689" h="825647">
                  <a:moveTo>
                    <a:pt x="269121" y="603665"/>
                  </a:moveTo>
                  <a:cubicBezTo>
                    <a:pt x="279406" y="547384"/>
                    <a:pt x="231410" y="507387"/>
                    <a:pt x="183699" y="470533"/>
                  </a:cubicBezTo>
                  <a:cubicBezTo>
                    <a:pt x="135989" y="433679"/>
                    <a:pt x="94849" y="334259"/>
                    <a:pt x="37140" y="107706"/>
                  </a:cubicBezTo>
                  <a:cubicBezTo>
                    <a:pt x="25998" y="63709"/>
                    <a:pt x="14570" y="28569"/>
                    <a:pt x="3714" y="0"/>
                  </a:cubicBezTo>
                  <a:lnTo>
                    <a:pt x="0" y="21998"/>
                  </a:lnTo>
                  <a:lnTo>
                    <a:pt x="0" y="21998"/>
                  </a:lnTo>
                  <a:cubicBezTo>
                    <a:pt x="9713" y="111134"/>
                    <a:pt x="28283" y="179700"/>
                    <a:pt x="43425" y="225410"/>
                  </a:cubicBezTo>
                  <a:cubicBezTo>
                    <a:pt x="71709" y="311403"/>
                    <a:pt x="102277" y="363970"/>
                    <a:pt x="128275" y="473390"/>
                  </a:cubicBezTo>
                  <a:cubicBezTo>
                    <a:pt x="140846" y="526243"/>
                    <a:pt x="158844" y="556526"/>
                    <a:pt x="146274" y="567383"/>
                  </a:cubicBezTo>
                  <a:cubicBezTo>
                    <a:pt x="128275" y="582810"/>
                    <a:pt x="71137" y="545956"/>
                    <a:pt x="32855" y="517958"/>
                  </a:cubicBezTo>
                  <a:cubicBezTo>
                    <a:pt x="33426" y="521386"/>
                    <a:pt x="33997" y="525100"/>
                    <a:pt x="34283" y="528814"/>
                  </a:cubicBezTo>
                  <a:cubicBezTo>
                    <a:pt x="36854" y="547384"/>
                    <a:pt x="38854" y="587381"/>
                    <a:pt x="83708" y="635091"/>
                  </a:cubicBezTo>
                  <a:cubicBezTo>
                    <a:pt x="141131" y="695944"/>
                    <a:pt x="139417" y="822219"/>
                    <a:pt x="270835" y="825647"/>
                  </a:cubicBezTo>
                  <a:cubicBezTo>
                    <a:pt x="303975" y="733369"/>
                    <a:pt x="261693" y="645948"/>
                    <a:pt x="269121" y="603665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6182215A-89F8-40F8-80FB-D70391AEDE90}"/>
                </a:ext>
              </a:extLst>
            </p:cNvPr>
            <p:cNvSpPr/>
            <p:nvPr/>
          </p:nvSpPr>
          <p:spPr>
            <a:xfrm>
              <a:off x="9889475" y="3743255"/>
              <a:ext cx="160824" cy="549122"/>
            </a:xfrm>
            <a:custGeom>
              <a:avLst/>
              <a:gdLst>
                <a:gd name="connsiteX0" fmla="*/ 156559 w 160824"/>
                <a:gd name="connsiteY0" fmla="*/ 545384 h 549122"/>
                <a:gd name="connsiteX1" fmla="*/ 138560 w 160824"/>
                <a:gd name="connsiteY1" fmla="*/ 451392 h 549122"/>
                <a:gd name="connsiteX2" fmla="*/ 53710 w 160824"/>
                <a:gd name="connsiteY2" fmla="*/ 203412 h 549122"/>
                <a:gd name="connsiteX3" fmla="*/ 10285 w 160824"/>
                <a:gd name="connsiteY3" fmla="*/ 0 h 549122"/>
                <a:gd name="connsiteX4" fmla="*/ 10285 w 160824"/>
                <a:gd name="connsiteY4" fmla="*/ 0 h 549122"/>
                <a:gd name="connsiteX5" fmla="*/ 0 w 160824"/>
                <a:gd name="connsiteY5" fmla="*/ 61709 h 549122"/>
                <a:gd name="connsiteX6" fmla="*/ 10571 w 160824"/>
                <a:gd name="connsiteY6" fmla="*/ 382255 h 549122"/>
                <a:gd name="connsiteX7" fmla="*/ 43139 w 160824"/>
                <a:gd name="connsiteY7" fmla="*/ 495674 h 549122"/>
                <a:gd name="connsiteX8" fmla="*/ 156559 w 160824"/>
                <a:gd name="connsiteY8" fmla="*/ 545384 h 54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824" h="549122">
                  <a:moveTo>
                    <a:pt x="156559" y="545384"/>
                  </a:moveTo>
                  <a:cubicBezTo>
                    <a:pt x="169129" y="534528"/>
                    <a:pt x="151131" y="504245"/>
                    <a:pt x="138560" y="451392"/>
                  </a:cubicBezTo>
                  <a:cubicBezTo>
                    <a:pt x="112562" y="341972"/>
                    <a:pt x="81708" y="289405"/>
                    <a:pt x="53710" y="203412"/>
                  </a:cubicBezTo>
                  <a:cubicBezTo>
                    <a:pt x="38854" y="157987"/>
                    <a:pt x="20284" y="89421"/>
                    <a:pt x="10285" y="0"/>
                  </a:cubicBezTo>
                  <a:lnTo>
                    <a:pt x="10285" y="0"/>
                  </a:lnTo>
                  <a:lnTo>
                    <a:pt x="0" y="61709"/>
                  </a:lnTo>
                  <a:lnTo>
                    <a:pt x="10571" y="382255"/>
                  </a:lnTo>
                  <a:cubicBezTo>
                    <a:pt x="10571" y="382255"/>
                    <a:pt x="32569" y="421680"/>
                    <a:pt x="43139" y="495674"/>
                  </a:cubicBezTo>
                  <a:cubicBezTo>
                    <a:pt x="81422" y="523957"/>
                    <a:pt x="138274" y="561097"/>
                    <a:pt x="156559" y="545384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1311C20D-A1DB-42B9-92C3-D3EB577F7136}"/>
                </a:ext>
              </a:extLst>
            </p:cNvPr>
            <p:cNvSpPr/>
            <p:nvPr/>
          </p:nvSpPr>
          <p:spPr>
            <a:xfrm>
              <a:off x="9890618" y="3721257"/>
              <a:ext cx="56736" cy="466714"/>
            </a:xfrm>
            <a:custGeom>
              <a:avLst/>
              <a:gdLst>
                <a:gd name="connsiteX0" fmla="*/ 55424 w 56736"/>
                <a:gd name="connsiteY0" fmla="*/ 349400 h 466714"/>
                <a:gd name="connsiteX1" fmla="*/ 46568 w 56736"/>
                <a:gd name="connsiteY1" fmla="*/ 107706 h 466714"/>
                <a:gd name="connsiteX2" fmla="*/ 13142 w 56736"/>
                <a:gd name="connsiteY2" fmla="*/ 0 h 466714"/>
                <a:gd name="connsiteX3" fmla="*/ 0 w 56736"/>
                <a:gd name="connsiteY3" fmla="*/ 108848 h 466714"/>
                <a:gd name="connsiteX4" fmla="*/ 9713 w 56736"/>
                <a:gd name="connsiteY4" fmla="*/ 404253 h 466714"/>
                <a:gd name="connsiteX5" fmla="*/ 31426 w 56736"/>
                <a:gd name="connsiteY5" fmla="*/ 463962 h 466714"/>
                <a:gd name="connsiteX6" fmla="*/ 53139 w 56736"/>
                <a:gd name="connsiteY6" fmla="*/ 431679 h 466714"/>
                <a:gd name="connsiteX7" fmla="*/ 55424 w 56736"/>
                <a:gd name="connsiteY7" fmla="*/ 349400 h 46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36" h="466714">
                  <a:moveTo>
                    <a:pt x="55424" y="349400"/>
                  </a:moveTo>
                  <a:cubicBezTo>
                    <a:pt x="35711" y="177414"/>
                    <a:pt x="65709" y="183128"/>
                    <a:pt x="46568" y="107706"/>
                  </a:cubicBezTo>
                  <a:cubicBezTo>
                    <a:pt x="35426" y="63709"/>
                    <a:pt x="23998" y="28569"/>
                    <a:pt x="13142" y="0"/>
                  </a:cubicBezTo>
                  <a:cubicBezTo>
                    <a:pt x="8285" y="26855"/>
                    <a:pt x="3143" y="63138"/>
                    <a:pt x="0" y="108848"/>
                  </a:cubicBezTo>
                  <a:lnTo>
                    <a:pt x="9713" y="404253"/>
                  </a:lnTo>
                  <a:lnTo>
                    <a:pt x="31426" y="463962"/>
                  </a:lnTo>
                  <a:cubicBezTo>
                    <a:pt x="38854" y="475961"/>
                    <a:pt x="52282" y="445678"/>
                    <a:pt x="53139" y="431679"/>
                  </a:cubicBezTo>
                  <a:cubicBezTo>
                    <a:pt x="55995" y="384255"/>
                    <a:pt x="58281" y="374827"/>
                    <a:pt x="55424" y="349400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07228D8F-50FD-4A5D-8905-9E922486D04E}"/>
                </a:ext>
              </a:extLst>
            </p:cNvPr>
            <p:cNvSpPr/>
            <p:nvPr/>
          </p:nvSpPr>
          <p:spPr>
            <a:xfrm>
              <a:off x="9853029" y="3687260"/>
              <a:ext cx="66443" cy="427398"/>
            </a:xfrm>
            <a:custGeom>
              <a:avLst/>
              <a:gdLst>
                <a:gd name="connsiteX0" fmla="*/ 66444 w 66443"/>
                <a:gd name="connsiteY0" fmla="*/ 79708 h 427398"/>
                <a:gd name="connsiteX1" fmla="*/ 50445 w 66443"/>
                <a:gd name="connsiteY1" fmla="*/ 34283 h 427398"/>
                <a:gd name="connsiteX2" fmla="*/ 50445 w 66443"/>
                <a:gd name="connsiteY2" fmla="*/ 34283 h 427398"/>
                <a:gd name="connsiteX3" fmla="*/ 35589 w 66443"/>
                <a:gd name="connsiteY3" fmla="*/ 0 h 427398"/>
                <a:gd name="connsiteX4" fmla="*/ 4163 w 66443"/>
                <a:gd name="connsiteY4" fmla="*/ 152273 h 427398"/>
                <a:gd name="connsiteX5" fmla="*/ 29304 w 66443"/>
                <a:gd name="connsiteY5" fmla="*/ 427394 h 427398"/>
                <a:gd name="connsiteX6" fmla="*/ 45589 w 66443"/>
                <a:gd name="connsiteY6" fmla="*/ 194270 h 427398"/>
                <a:gd name="connsiteX7" fmla="*/ 51302 w 66443"/>
                <a:gd name="connsiteY7" fmla="*/ 116562 h 427398"/>
                <a:gd name="connsiteX8" fmla="*/ 66444 w 66443"/>
                <a:gd name="connsiteY8" fmla="*/ 79708 h 4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443" h="427398">
                  <a:moveTo>
                    <a:pt x="66444" y="79708"/>
                  </a:moveTo>
                  <a:cubicBezTo>
                    <a:pt x="61016" y="62852"/>
                    <a:pt x="55873" y="47710"/>
                    <a:pt x="50445" y="34283"/>
                  </a:cubicBezTo>
                  <a:lnTo>
                    <a:pt x="50445" y="34283"/>
                  </a:lnTo>
                  <a:cubicBezTo>
                    <a:pt x="45303" y="21427"/>
                    <a:pt x="40446" y="10285"/>
                    <a:pt x="35589" y="0"/>
                  </a:cubicBezTo>
                  <a:cubicBezTo>
                    <a:pt x="21019" y="36283"/>
                    <a:pt x="9306" y="102563"/>
                    <a:pt x="4163" y="152273"/>
                  </a:cubicBezTo>
                  <a:cubicBezTo>
                    <a:pt x="-10978" y="299119"/>
                    <a:pt x="19305" y="428251"/>
                    <a:pt x="29304" y="427394"/>
                  </a:cubicBezTo>
                  <a:cubicBezTo>
                    <a:pt x="39875" y="426537"/>
                    <a:pt x="47303" y="280549"/>
                    <a:pt x="45589" y="194270"/>
                  </a:cubicBezTo>
                  <a:cubicBezTo>
                    <a:pt x="45017" y="164844"/>
                    <a:pt x="43303" y="144845"/>
                    <a:pt x="51302" y="116562"/>
                  </a:cubicBezTo>
                  <a:cubicBezTo>
                    <a:pt x="55873" y="101420"/>
                    <a:pt x="61302" y="89707"/>
                    <a:pt x="66444" y="79708"/>
                  </a:cubicBezTo>
                  <a:close/>
                </a:path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8D47C5C8-7D1C-4CB0-A5F6-9A8AD8E2711D}"/>
                </a:ext>
              </a:extLst>
            </p:cNvPr>
            <p:cNvSpPr/>
            <p:nvPr/>
          </p:nvSpPr>
          <p:spPr>
            <a:xfrm>
              <a:off x="9543141" y="3605552"/>
              <a:ext cx="365352" cy="1058531"/>
            </a:xfrm>
            <a:custGeom>
              <a:avLst/>
              <a:gdLst>
                <a:gd name="connsiteX0" fmla="*/ 327764 w 365352"/>
                <a:gd name="connsiteY0" fmla="*/ 656232 h 1058531"/>
                <a:gd name="connsiteX1" fmla="*/ 356905 w 365352"/>
                <a:gd name="connsiteY1" fmla="*/ 520244 h 1058531"/>
                <a:gd name="connsiteX2" fmla="*/ 346334 w 365352"/>
                <a:gd name="connsiteY2" fmla="*/ 199698 h 1058531"/>
                <a:gd name="connsiteX3" fmla="*/ 360333 w 365352"/>
                <a:gd name="connsiteY3" fmla="*/ 115991 h 1058531"/>
                <a:gd name="connsiteX4" fmla="*/ 274340 w 365352"/>
                <a:gd name="connsiteY4" fmla="*/ 286 h 1058531"/>
                <a:gd name="connsiteX5" fmla="*/ 265484 w 365352"/>
                <a:gd name="connsiteY5" fmla="*/ 0 h 1058531"/>
                <a:gd name="connsiteX6" fmla="*/ 308052 w 365352"/>
                <a:gd name="connsiteY6" fmla="*/ 83708 h 1058531"/>
                <a:gd name="connsiteX7" fmla="*/ 254627 w 365352"/>
                <a:gd name="connsiteY7" fmla="*/ 191413 h 1058531"/>
                <a:gd name="connsiteX8" fmla="*/ 258913 w 365352"/>
                <a:gd name="connsiteY8" fmla="*/ 400825 h 1058531"/>
                <a:gd name="connsiteX9" fmla="*/ 204346 w 365352"/>
                <a:gd name="connsiteY9" fmla="*/ 679088 h 1058531"/>
                <a:gd name="connsiteX10" fmla="*/ 74071 w 365352"/>
                <a:gd name="connsiteY10" fmla="*/ 823362 h 1058531"/>
                <a:gd name="connsiteX11" fmla="*/ 77 w 365352"/>
                <a:gd name="connsiteY11" fmla="*/ 974778 h 1058531"/>
                <a:gd name="connsiteX12" fmla="*/ 23789 w 365352"/>
                <a:gd name="connsiteY12" fmla="*/ 1048201 h 1058531"/>
                <a:gd name="connsiteX13" fmla="*/ 35788 w 365352"/>
                <a:gd name="connsiteY13" fmla="*/ 1051915 h 1058531"/>
                <a:gd name="connsiteX14" fmla="*/ 143208 w 365352"/>
                <a:gd name="connsiteY14" fmla="*/ 1040201 h 1058531"/>
                <a:gd name="connsiteX15" fmla="*/ 86641 w 365352"/>
                <a:gd name="connsiteY15" fmla="*/ 1017346 h 1058531"/>
                <a:gd name="connsiteX16" fmla="*/ 140351 w 365352"/>
                <a:gd name="connsiteY16" fmla="*/ 917354 h 1058531"/>
                <a:gd name="connsiteX17" fmla="*/ 162635 w 365352"/>
                <a:gd name="connsiteY17" fmla="*/ 966493 h 1058531"/>
                <a:gd name="connsiteX18" fmla="*/ 219487 w 365352"/>
                <a:gd name="connsiteY18" fmla="*/ 876215 h 1058531"/>
                <a:gd name="connsiteX19" fmla="*/ 283768 w 365352"/>
                <a:gd name="connsiteY19" fmla="*/ 791079 h 1058531"/>
                <a:gd name="connsiteX20" fmla="*/ 327764 w 365352"/>
                <a:gd name="connsiteY20" fmla="*/ 656232 h 105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5352" h="1058531">
                  <a:moveTo>
                    <a:pt x="327764" y="656232"/>
                  </a:moveTo>
                  <a:cubicBezTo>
                    <a:pt x="367761" y="608236"/>
                    <a:pt x="372904" y="578524"/>
                    <a:pt x="356905" y="520244"/>
                  </a:cubicBezTo>
                  <a:cubicBezTo>
                    <a:pt x="340906" y="461963"/>
                    <a:pt x="346334" y="199698"/>
                    <a:pt x="346334" y="199698"/>
                  </a:cubicBezTo>
                  <a:lnTo>
                    <a:pt x="360333" y="115991"/>
                  </a:lnTo>
                  <a:cubicBezTo>
                    <a:pt x="314623" y="-1714"/>
                    <a:pt x="274340" y="286"/>
                    <a:pt x="274340" y="286"/>
                  </a:cubicBezTo>
                  <a:cubicBezTo>
                    <a:pt x="271198" y="286"/>
                    <a:pt x="268626" y="286"/>
                    <a:pt x="265484" y="0"/>
                  </a:cubicBezTo>
                  <a:cubicBezTo>
                    <a:pt x="283768" y="20570"/>
                    <a:pt x="308052" y="45425"/>
                    <a:pt x="308052" y="83708"/>
                  </a:cubicBezTo>
                  <a:cubicBezTo>
                    <a:pt x="308052" y="127133"/>
                    <a:pt x="276626" y="140560"/>
                    <a:pt x="254627" y="191413"/>
                  </a:cubicBezTo>
                  <a:cubicBezTo>
                    <a:pt x="225487" y="258550"/>
                    <a:pt x="254627" y="293976"/>
                    <a:pt x="258913" y="400825"/>
                  </a:cubicBezTo>
                  <a:cubicBezTo>
                    <a:pt x="261484" y="465105"/>
                    <a:pt x="266341" y="581381"/>
                    <a:pt x="204346" y="679088"/>
                  </a:cubicBezTo>
                  <a:cubicBezTo>
                    <a:pt x="166063" y="739940"/>
                    <a:pt x="140637" y="731655"/>
                    <a:pt x="74071" y="823362"/>
                  </a:cubicBezTo>
                  <a:cubicBezTo>
                    <a:pt x="25503" y="890499"/>
                    <a:pt x="-1638" y="927639"/>
                    <a:pt x="77" y="974778"/>
                  </a:cubicBezTo>
                  <a:cubicBezTo>
                    <a:pt x="934" y="999348"/>
                    <a:pt x="9790" y="1024774"/>
                    <a:pt x="23789" y="1048201"/>
                  </a:cubicBezTo>
                  <a:cubicBezTo>
                    <a:pt x="27789" y="1049629"/>
                    <a:pt x="31788" y="1050772"/>
                    <a:pt x="35788" y="1051915"/>
                  </a:cubicBezTo>
                  <a:cubicBezTo>
                    <a:pt x="102068" y="1071913"/>
                    <a:pt x="143208" y="1040201"/>
                    <a:pt x="143208" y="1040201"/>
                  </a:cubicBezTo>
                  <a:cubicBezTo>
                    <a:pt x="143208" y="1040201"/>
                    <a:pt x="92069" y="1047629"/>
                    <a:pt x="86641" y="1017346"/>
                  </a:cubicBezTo>
                  <a:cubicBezTo>
                    <a:pt x="81213" y="987063"/>
                    <a:pt x="122924" y="912212"/>
                    <a:pt x="140351" y="917354"/>
                  </a:cubicBezTo>
                  <a:cubicBezTo>
                    <a:pt x="157778" y="922497"/>
                    <a:pt x="159492" y="933639"/>
                    <a:pt x="162635" y="966493"/>
                  </a:cubicBezTo>
                  <a:cubicBezTo>
                    <a:pt x="162635" y="966493"/>
                    <a:pt x="198918" y="952780"/>
                    <a:pt x="219487" y="876215"/>
                  </a:cubicBezTo>
                  <a:cubicBezTo>
                    <a:pt x="240057" y="799649"/>
                    <a:pt x="283768" y="791079"/>
                    <a:pt x="283768" y="791079"/>
                  </a:cubicBezTo>
                  <a:cubicBezTo>
                    <a:pt x="283768" y="791079"/>
                    <a:pt x="287482" y="704229"/>
                    <a:pt x="327764" y="656232"/>
                  </a:cubicBezTo>
                  <a:close/>
                </a:path>
              </a:pathLst>
            </a:custGeom>
            <a:solidFill>
              <a:srgbClr val="85FC2D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FB5CC1D0-A450-45CC-B9FA-6EDD5B36C690}"/>
                </a:ext>
              </a:extLst>
            </p:cNvPr>
            <p:cNvSpPr/>
            <p:nvPr/>
          </p:nvSpPr>
          <p:spPr>
            <a:xfrm>
              <a:off x="9584357" y="4608899"/>
              <a:ext cx="101991" cy="55021"/>
            </a:xfrm>
            <a:custGeom>
              <a:avLst/>
              <a:gdLst>
                <a:gd name="connsiteX0" fmla="*/ 45425 w 101991"/>
                <a:gd name="connsiteY0" fmla="*/ 13999 h 55021"/>
                <a:gd name="connsiteX1" fmla="*/ 45711 w 101991"/>
                <a:gd name="connsiteY1" fmla="*/ 0 h 55021"/>
                <a:gd name="connsiteX2" fmla="*/ 0 w 101991"/>
                <a:gd name="connsiteY2" fmla="*/ 49996 h 55021"/>
                <a:gd name="connsiteX3" fmla="*/ 101992 w 101991"/>
                <a:gd name="connsiteY3" fmla="*/ 36854 h 55021"/>
                <a:gd name="connsiteX4" fmla="*/ 45425 w 101991"/>
                <a:gd name="connsiteY4" fmla="*/ 13999 h 5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91" h="55021">
                  <a:moveTo>
                    <a:pt x="45425" y="13999"/>
                  </a:moveTo>
                  <a:cubicBezTo>
                    <a:pt x="44854" y="9999"/>
                    <a:pt x="44854" y="5142"/>
                    <a:pt x="45711" y="0"/>
                  </a:cubicBezTo>
                  <a:cubicBezTo>
                    <a:pt x="28569" y="13142"/>
                    <a:pt x="20570" y="37425"/>
                    <a:pt x="0" y="49996"/>
                  </a:cubicBezTo>
                  <a:cubicBezTo>
                    <a:pt x="62852" y="66566"/>
                    <a:pt x="101992" y="36854"/>
                    <a:pt x="101992" y="36854"/>
                  </a:cubicBezTo>
                  <a:cubicBezTo>
                    <a:pt x="101992" y="36854"/>
                    <a:pt x="50853" y="44282"/>
                    <a:pt x="45425" y="13999"/>
                  </a:cubicBezTo>
                  <a:close/>
                </a:path>
              </a:pathLst>
            </a:custGeom>
            <a:solidFill>
              <a:srgbClr val="998592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CA5B2113-BFBB-4CBC-84F4-D7C992FD81CE}"/>
                </a:ext>
              </a:extLst>
            </p:cNvPr>
            <p:cNvSpPr/>
            <p:nvPr/>
          </p:nvSpPr>
          <p:spPr>
            <a:xfrm>
              <a:off x="9702062" y="4522049"/>
              <a:ext cx="46281" cy="50281"/>
            </a:xfrm>
            <a:custGeom>
              <a:avLst/>
              <a:gdLst>
                <a:gd name="connsiteX0" fmla="*/ 0 w 46281"/>
                <a:gd name="connsiteY0" fmla="*/ 20855 h 50281"/>
                <a:gd name="connsiteX1" fmla="*/ 4000 w 46281"/>
                <a:gd name="connsiteY1" fmla="*/ 50282 h 50281"/>
                <a:gd name="connsiteX2" fmla="*/ 46282 w 46281"/>
                <a:gd name="connsiteY2" fmla="*/ 0 h 50281"/>
                <a:gd name="connsiteX3" fmla="*/ 0 w 46281"/>
                <a:gd name="connsiteY3" fmla="*/ 20855 h 50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81" h="50281">
                  <a:moveTo>
                    <a:pt x="0" y="20855"/>
                  </a:moveTo>
                  <a:cubicBezTo>
                    <a:pt x="1714" y="27998"/>
                    <a:pt x="2857" y="37426"/>
                    <a:pt x="4000" y="50282"/>
                  </a:cubicBezTo>
                  <a:cubicBezTo>
                    <a:pt x="4000" y="50282"/>
                    <a:pt x="26569" y="41425"/>
                    <a:pt x="46282" y="0"/>
                  </a:cubicBezTo>
                  <a:cubicBezTo>
                    <a:pt x="23141" y="12570"/>
                    <a:pt x="8856" y="18570"/>
                    <a:pt x="0" y="20855"/>
                  </a:cubicBezTo>
                  <a:close/>
                </a:path>
              </a:pathLst>
            </a:custGeom>
            <a:solidFill>
              <a:srgbClr val="998592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D821F563-A7EE-480C-B814-48A1F6D7685D}"/>
                </a:ext>
              </a:extLst>
            </p:cNvPr>
            <p:cNvSpPr/>
            <p:nvPr/>
          </p:nvSpPr>
          <p:spPr>
            <a:xfrm>
              <a:off x="6811153" y="4177842"/>
              <a:ext cx="465392" cy="101985"/>
            </a:xfrm>
            <a:custGeom>
              <a:avLst/>
              <a:gdLst>
                <a:gd name="connsiteX0" fmla="*/ 465391 w 465392"/>
                <a:gd name="connsiteY0" fmla="*/ 44232 h 101985"/>
                <a:gd name="connsiteX1" fmla="*/ 193413 w 465392"/>
                <a:gd name="connsiteY1" fmla="*/ 807 h 101985"/>
                <a:gd name="connsiteX2" fmla="*/ 96849 w 465392"/>
                <a:gd name="connsiteY2" fmla="*/ 12520 h 101985"/>
                <a:gd name="connsiteX3" fmla="*/ 0 w 465392"/>
                <a:gd name="connsiteY3" fmla="*/ 39661 h 101985"/>
                <a:gd name="connsiteX4" fmla="*/ 56567 w 465392"/>
                <a:gd name="connsiteY4" fmla="*/ 98513 h 101985"/>
                <a:gd name="connsiteX5" fmla="*/ 135989 w 465392"/>
                <a:gd name="connsiteY5" fmla="*/ 101941 h 101985"/>
                <a:gd name="connsiteX6" fmla="*/ 465391 w 465392"/>
                <a:gd name="connsiteY6" fmla="*/ 44232 h 101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5392" h="101985">
                  <a:moveTo>
                    <a:pt x="465391" y="44232"/>
                  </a:moveTo>
                  <a:cubicBezTo>
                    <a:pt x="464819" y="20805"/>
                    <a:pt x="326545" y="-4907"/>
                    <a:pt x="193413" y="807"/>
                  </a:cubicBezTo>
                  <a:cubicBezTo>
                    <a:pt x="168843" y="1949"/>
                    <a:pt x="155130" y="2806"/>
                    <a:pt x="96849" y="12520"/>
                  </a:cubicBezTo>
                  <a:cubicBezTo>
                    <a:pt x="61424" y="18519"/>
                    <a:pt x="26284" y="25090"/>
                    <a:pt x="0" y="39661"/>
                  </a:cubicBezTo>
                  <a:cubicBezTo>
                    <a:pt x="12570" y="57945"/>
                    <a:pt x="30855" y="78229"/>
                    <a:pt x="56567" y="98513"/>
                  </a:cubicBezTo>
                  <a:cubicBezTo>
                    <a:pt x="81708" y="100513"/>
                    <a:pt x="108277" y="101941"/>
                    <a:pt x="135989" y="101941"/>
                  </a:cubicBezTo>
                  <a:cubicBezTo>
                    <a:pt x="293690" y="103370"/>
                    <a:pt x="465962" y="70229"/>
                    <a:pt x="465391" y="44232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B6C66E9A-5718-453E-8A3A-A4B9158A966C}"/>
                </a:ext>
              </a:extLst>
            </p:cNvPr>
            <p:cNvSpPr/>
            <p:nvPr/>
          </p:nvSpPr>
          <p:spPr>
            <a:xfrm>
              <a:off x="7190201" y="3690688"/>
              <a:ext cx="114054" cy="80039"/>
            </a:xfrm>
            <a:custGeom>
              <a:avLst/>
              <a:gdLst>
                <a:gd name="connsiteX0" fmla="*/ 32062 w 114054"/>
                <a:gd name="connsiteY0" fmla="*/ 52853 h 80039"/>
                <a:gd name="connsiteX1" fmla="*/ 8921 w 114054"/>
                <a:gd name="connsiteY1" fmla="*/ 42282 h 80039"/>
                <a:gd name="connsiteX2" fmla="*/ 1493 w 114054"/>
                <a:gd name="connsiteY2" fmla="*/ 29712 h 80039"/>
                <a:gd name="connsiteX3" fmla="*/ 10349 w 114054"/>
                <a:gd name="connsiteY3" fmla="*/ 69423 h 80039"/>
                <a:gd name="connsiteX4" fmla="*/ 33490 w 114054"/>
                <a:gd name="connsiteY4" fmla="*/ 79993 h 80039"/>
                <a:gd name="connsiteX5" fmla="*/ 90343 w 114054"/>
                <a:gd name="connsiteY5" fmla="*/ 22855 h 80039"/>
                <a:gd name="connsiteX6" fmla="*/ 114055 w 114054"/>
                <a:gd name="connsiteY6" fmla="*/ 7714 h 80039"/>
                <a:gd name="connsiteX7" fmla="*/ 88057 w 114054"/>
                <a:gd name="connsiteY7" fmla="*/ 0 h 80039"/>
                <a:gd name="connsiteX8" fmla="*/ 32062 w 114054"/>
                <a:gd name="connsiteY8" fmla="*/ 52853 h 8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054" h="80039">
                  <a:moveTo>
                    <a:pt x="32062" y="52853"/>
                  </a:moveTo>
                  <a:cubicBezTo>
                    <a:pt x="22348" y="53424"/>
                    <a:pt x="14634" y="48853"/>
                    <a:pt x="8921" y="42282"/>
                  </a:cubicBezTo>
                  <a:cubicBezTo>
                    <a:pt x="5492" y="38568"/>
                    <a:pt x="3207" y="34283"/>
                    <a:pt x="1493" y="29712"/>
                  </a:cubicBezTo>
                  <a:cubicBezTo>
                    <a:pt x="-1936" y="43139"/>
                    <a:pt x="350" y="57995"/>
                    <a:pt x="10349" y="69423"/>
                  </a:cubicBezTo>
                  <a:cubicBezTo>
                    <a:pt x="16063" y="75708"/>
                    <a:pt x="23491" y="80565"/>
                    <a:pt x="33490" y="79993"/>
                  </a:cubicBezTo>
                  <a:cubicBezTo>
                    <a:pt x="62916" y="78565"/>
                    <a:pt x="83200" y="72566"/>
                    <a:pt x="90343" y="22855"/>
                  </a:cubicBezTo>
                  <a:cubicBezTo>
                    <a:pt x="90343" y="22855"/>
                    <a:pt x="102056" y="9999"/>
                    <a:pt x="114055" y="7714"/>
                  </a:cubicBezTo>
                  <a:cubicBezTo>
                    <a:pt x="114055" y="7714"/>
                    <a:pt x="103199" y="3428"/>
                    <a:pt x="88057" y="0"/>
                  </a:cubicBezTo>
                  <a:cubicBezTo>
                    <a:pt x="80343" y="45711"/>
                    <a:pt x="60631" y="51424"/>
                    <a:pt x="32062" y="52853"/>
                  </a:cubicBezTo>
                  <a:close/>
                </a:path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710F596F-4B33-457B-B6F8-43A99EA8FD61}"/>
                </a:ext>
              </a:extLst>
            </p:cNvPr>
            <p:cNvSpPr/>
            <p:nvPr/>
          </p:nvSpPr>
          <p:spPr>
            <a:xfrm>
              <a:off x="7189639" y="3686037"/>
              <a:ext cx="115759" cy="85364"/>
            </a:xfrm>
            <a:custGeom>
              <a:avLst/>
              <a:gdLst>
                <a:gd name="connsiteX0" fmla="*/ 37481 w 115759"/>
                <a:gd name="connsiteY0" fmla="*/ 2365 h 85364"/>
                <a:gd name="connsiteX1" fmla="*/ 4055 w 115759"/>
                <a:gd name="connsiteY1" fmla="*/ 36648 h 85364"/>
                <a:gd name="connsiteX2" fmla="*/ 23196 w 115759"/>
                <a:gd name="connsiteY2" fmla="*/ 75502 h 85364"/>
                <a:gd name="connsiteX3" fmla="*/ 32338 w 115759"/>
                <a:gd name="connsiteY3" fmla="*/ 76931 h 85364"/>
                <a:gd name="connsiteX4" fmla="*/ 44337 w 115759"/>
                <a:gd name="connsiteY4" fmla="*/ 75217 h 85364"/>
                <a:gd name="connsiteX5" fmla="*/ 64050 w 115759"/>
                <a:gd name="connsiteY5" fmla="*/ 67503 h 85364"/>
                <a:gd name="connsiteX6" fmla="*/ 83477 w 115759"/>
                <a:gd name="connsiteY6" fmla="*/ 26649 h 85364"/>
                <a:gd name="connsiteX7" fmla="*/ 83762 w 115759"/>
                <a:gd name="connsiteY7" fmla="*/ 25221 h 85364"/>
                <a:gd name="connsiteX8" fmla="*/ 85191 w 115759"/>
                <a:gd name="connsiteY8" fmla="*/ 22935 h 85364"/>
                <a:gd name="connsiteX9" fmla="*/ 98047 w 115759"/>
                <a:gd name="connsiteY9" fmla="*/ 13507 h 85364"/>
                <a:gd name="connsiteX10" fmla="*/ 113189 w 115759"/>
                <a:gd name="connsiteY10" fmla="*/ 12079 h 85364"/>
                <a:gd name="connsiteX11" fmla="*/ 113189 w 115759"/>
                <a:gd name="connsiteY11" fmla="*/ 12936 h 85364"/>
                <a:gd name="connsiteX12" fmla="*/ 76334 w 115759"/>
                <a:gd name="connsiteY12" fmla="*/ 4365 h 85364"/>
                <a:gd name="connsiteX13" fmla="*/ 37481 w 115759"/>
                <a:gd name="connsiteY13" fmla="*/ 2365 h 85364"/>
                <a:gd name="connsiteX14" fmla="*/ 37481 w 115759"/>
                <a:gd name="connsiteY14" fmla="*/ 1223 h 85364"/>
                <a:gd name="connsiteX15" fmla="*/ 76906 w 115759"/>
                <a:gd name="connsiteY15" fmla="*/ 2080 h 85364"/>
                <a:gd name="connsiteX16" fmla="*/ 115188 w 115759"/>
                <a:gd name="connsiteY16" fmla="*/ 11793 h 85364"/>
                <a:gd name="connsiteX17" fmla="*/ 115760 w 115759"/>
                <a:gd name="connsiteY17" fmla="*/ 12650 h 85364"/>
                <a:gd name="connsiteX18" fmla="*/ 115188 w 115759"/>
                <a:gd name="connsiteY18" fmla="*/ 13222 h 85364"/>
                <a:gd name="connsiteX19" fmla="*/ 91762 w 115759"/>
                <a:gd name="connsiteY19" fmla="*/ 28078 h 85364"/>
                <a:gd name="connsiteX20" fmla="*/ 92048 w 115759"/>
                <a:gd name="connsiteY20" fmla="*/ 27506 h 85364"/>
                <a:gd name="connsiteX21" fmla="*/ 71192 w 115759"/>
                <a:gd name="connsiteY21" fmla="*/ 75217 h 85364"/>
                <a:gd name="connsiteX22" fmla="*/ 46337 w 115759"/>
                <a:gd name="connsiteY22" fmla="*/ 84359 h 85364"/>
                <a:gd name="connsiteX23" fmla="*/ 20053 w 115759"/>
                <a:gd name="connsiteY23" fmla="*/ 82073 h 85364"/>
                <a:gd name="connsiteX24" fmla="*/ 1198 w 115759"/>
                <a:gd name="connsiteY24" fmla="*/ 35506 h 85364"/>
                <a:gd name="connsiteX25" fmla="*/ 37481 w 115759"/>
                <a:gd name="connsiteY25" fmla="*/ 1223 h 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759" h="85364">
                  <a:moveTo>
                    <a:pt x="37481" y="2365"/>
                  </a:moveTo>
                  <a:cubicBezTo>
                    <a:pt x="20053" y="5222"/>
                    <a:pt x="6340" y="20078"/>
                    <a:pt x="4055" y="36648"/>
                  </a:cubicBezTo>
                  <a:cubicBezTo>
                    <a:pt x="1483" y="52933"/>
                    <a:pt x="10626" y="69789"/>
                    <a:pt x="23196" y="75502"/>
                  </a:cubicBezTo>
                  <a:cubicBezTo>
                    <a:pt x="26339" y="76931"/>
                    <a:pt x="29481" y="76931"/>
                    <a:pt x="32338" y="76931"/>
                  </a:cubicBezTo>
                  <a:cubicBezTo>
                    <a:pt x="35766" y="76645"/>
                    <a:pt x="40623" y="76074"/>
                    <a:pt x="44337" y="75217"/>
                  </a:cubicBezTo>
                  <a:cubicBezTo>
                    <a:pt x="52336" y="73788"/>
                    <a:pt x="59193" y="71788"/>
                    <a:pt x="64050" y="67503"/>
                  </a:cubicBezTo>
                  <a:cubicBezTo>
                    <a:pt x="74620" y="59504"/>
                    <a:pt x="79477" y="42934"/>
                    <a:pt x="83477" y="26649"/>
                  </a:cubicBezTo>
                  <a:lnTo>
                    <a:pt x="83762" y="25221"/>
                  </a:lnTo>
                  <a:cubicBezTo>
                    <a:pt x="84048" y="24364"/>
                    <a:pt x="84620" y="23507"/>
                    <a:pt x="85191" y="22935"/>
                  </a:cubicBezTo>
                  <a:cubicBezTo>
                    <a:pt x="89191" y="19221"/>
                    <a:pt x="93476" y="16079"/>
                    <a:pt x="98047" y="13507"/>
                  </a:cubicBezTo>
                  <a:cubicBezTo>
                    <a:pt x="102618" y="10936"/>
                    <a:pt x="107189" y="12936"/>
                    <a:pt x="113189" y="12079"/>
                  </a:cubicBezTo>
                  <a:lnTo>
                    <a:pt x="113189" y="12936"/>
                  </a:lnTo>
                  <a:cubicBezTo>
                    <a:pt x="101761" y="7794"/>
                    <a:pt x="88905" y="7222"/>
                    <a:pt x="76334" y="4365"/>
                  </a:cubicBezTo>
                  <a:cubicBezTo>
                    <a:pt x="63764" y="1508"/>
                    <a:pt x="50622" y="366"/>
                    <a:pt x="37481" y="2365"/>
                  </a:cubicBezTo>
                  <a:close/>
                  <a:moveTo>
                    <a:pt x="37481" y="1223"/>
                  </a:moveTo>
                  <a:cubicBezTo>
                    <a:pt x="50622" y="-777"/>
                    <a:pt x="63764" y="-206"/>
                    <a:pt x="76906" y="2080"/>
                  </a:cubicBezTo>
                  <a:cubicBezTo>
                    <a:pt x="90048" y="4080"/>
                    <a:pt x="102618" y="7508"/>
                    <a:pt x="115188" y="11793"/>
                  </a:cubicBezTo>
                  <a:cubicBezTo>
                    <a:pt x="115474" y="11793"/>
                    <a:pt x="115760" y="12365"/>
                    <a:pt x="115760" y="12650"/>
                  </a:cubicBezTo>
                  <a:cubicBezTo>
                    <a:pt x="115760" y="12936"/>
                    <a:pt x="115474" y="13222"/>
                    <a:pt x="115188" y="13222"/>
                  </a:cubicBezTo>
                  <a:cubicBezTo>
                    <a:pt x="106046" y="15222"/>
                    <a:pt x="98333" y="21507"/>
                    <a:pt x="91762" y="28078"/>
                  </a:cubicBezTo>
                  <a:lnTo>
                    <a:pt x="92048" y="27506"/>
                  </a:lnTo>
                  <a:cubicBezTo>
                    <a:pt x="89191" y="44362"/>
                    <a:pt x="85477" y="63503"/>
                    <a:pt x="71192" y="75217"/>
                  </a:cubicBezTo>
                  <a:cubicBezTo>
                    <a:pt x="64050" y="80930"/>
                    <a:pt x="55193" y="83216"/>
                    <a:pt x="46337" y="84359"/>
                  </a:cubicBezTo>
                  <a:cubicBezTo>
                    <a:pt x="37766" y="85216"/>
                    <a:pt x="28338" y="86930"/>
                    <a:pt x="20053" y="82073"/>
                  </a:cubicBezTo>
                  <a:cubicBezTo>
                    <a:pt x="4340" y="72931"/>
                    <a:pt x="-3088" y="52933"/>
                    <a:pt x="1198" y="35506"/>
                  </a:cubicBezTo>
                  <a:cubicBezTo>
                    <a:pt x="4912" y="18650"/>
                    <a:pt x="19768" y="3794"/>
                    <a:pt x="37481" y="1223"/>
                  </a:cubicBezTo>
                  <a:close/>
                </a:path>
              </a:pathLst>
            </a:custGeom>
            <a:solidFill>
              <a:srgbClr val="FFDDF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941815E4-7E8D-46FB-846D-361C261EA8B4}"/>
                </a:ext>
              </a:extLst>
            </p:cNvPr>
            <p:cNvSpPr/>
            <p:nvPr/>
          </p:nvSpPr>
          <p:spPr>
            <a:xfrm>
              <a:off x="7909636" y="4238929"/>
              <a:ext cx="159129" cy="61709"/>
            </a:xfrm>
            <a:custGeom>
              <a:avLst/>
              <a:gdLst>
                <a:gd name="connsiteX0" fmla="*/ 159130 w 159129"/>
                <a:gd name="connsiteY0" fmla="*/ 0 h 61709"/>
                <a:gd name="connsiteX1" fmla="*/ 0 w 159129"/>
                <a:gd name="connsiteY1" fmla="*/ 32854 h 61709"/>
                <a:gd name="connsiteX2" fmla="*/ 27998 w 159129"/>
                <a:gd name="connsiteY2" fmla="*/ 61709 h 61709"/>
                <a:gd name="connsiteX3" fmla="*/ 49425 w 159129"/>
                <a:gd name="connsiteY3" fmla="*/ 54567 h 61709"/>
                <a:gd name="connsiteX4" fmla="*/ 159130 w 159129"/>
                <a:gd name="connsiteY4" fmla="*/ 0 h 6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129" h="61709">
                  <a:moveTo>
                    <a:pt x="159130" y="0"/>
                  </a:moveTo>
                  <a:lnTo>
                    <a:pt x="0" y="32854"/>
                  </a:lnTo>
                  <a:cubicBezTo>
                    <a:pt x="9714" y="44282"/>
                    <a:pt x="18856" y="53710"/>
                    <a:pt x="27998" y="61709"/>
                  </a:cubicBezTo>
                  <a:cubicBezTo>
                    <a:pt x="34569" y="59424"/>
                    <a:pt x="41711" y="57138"/>
                    <a:pt x="49425" y="54567"/>
                  </a:cubicBezTo>
                  <a:cubicBezTo>
                    <a:pt x="119990" y="31712"/>
                    <a:pt x="155416" y="19713"/>
                    <a:pt x="159130" y="0"/>
                  </a:cubicBezTo>
                  <a:close/>
                </a:path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EAD62D1-E8B8-4D9D-B6EA-A65925954451}"/>
                </a:ext>
              </a:extLst>
            </p:cNvPr>
            <p:cNvSpPr/>
            <p:nvPr/>
          </p:nvSpPr>
          <p:spPr>
            <a:xfrm>
              <a:off x="9461113" y="4324351"/>
              <a:ext cx="192666" cy="339651"/>
            </a:xfrm>
            <a:custGeom>
              <a:avLst/>
              <a:gdLst>
                <a:gd name="connsiteX0" fmla="*/ 192667 w 192666"/>
                <a:gd name="connsiteY0" fmla="*/ 335687 h 339651"/>
                <a:gd name="connsiteX1" fmla="*/ 49250 w 192666"/>
                <a:gd name="connsiteY1" fmla="*/ 123990 h 339651"/>
                <a:gd name="connsiteX2" fmla="*/ 76962 w 192666"/>
                <a:gd name="connsiteY2" fmla="*/ 0 h 339651"/>
                <a:gd name="connsiteX3" fmla="*/ 397 w 192666"/>
                <a:gd name="connsiteY3" fmla="*/ 154845 h 339651"/>
                <a:gd name="connsiteX4" fmla="*/ 117816 w 192666"/>
                <a:gd name="connsiteY4" fmla="*/ 333116 h 339651"/>
                <a:gd name="connsiteX5" fmla="*/ 192667 w 192666"/>
                <a:gd name="connsiteY5" fmla="*/ 335687 h 339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666" h="339651">
                  <a:moveTo>
                    <a:pt x="192667" y="335687"/>
                  </a:moveTo>
                  <a:cubicBezTo>
                    <a:pt x="141242" y="289977"/>
                    <a:pt x="56964" y="225696"/>
                    <a:pt x="49250" y="123990"/>
                  </a:cubicBezTo>
                  <a:cubicBezTo>
                    <a:pt x="45536" y="74851"/>
                    <a:pt x="60963" y="32855"/>
                    <a:pt x="76962" y="0"/>
                  </a:cubicBezTo>
                  <a:cubicBezTo>
                    <a:pt x="39536" y="39711"/>
                    <a:pt x="2968" y="93707"/>
                    <a:pt x="397" y="154845"/>
                  </a:cubicBezTo>
                  <a:cubicBezTo>
                    <a:pt x="-5317" y="284263"/>
                    <a:pt x="51535" y="313118"/>
                    <a:pt x="117816" y="333116"/>
                  </a:cubicBezTo>
                  <a:cubicBezTo>
                    <a:pt x="148670" y="342544"/>
                    <a:pt x="174097" y="340258"/>
                    <a:pt x="192667" y="335687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6680952-D036-459D-9E7A-98FC7AD37788}"/>
                </a:ext>
              </a:extLst>
            </p:cNvPr>
            <p:cNvSpPr/>
            <p:nvPr/>
          </p:nvSpPr>
          <p:spPr>
            <a:xfrm>
              <a:off x="6781442" y="3074167"/>
              <a:ext cx="28569" cy="28569"/>
            </a:xfrm>
            <a:custGeom>
              <a:avLst/>
              <a:gdLst/>
              <a:ahLst/>
              <a:cxnLst/>
              <a:rect l="l" t="t" r="r" b="b"/>
              <a:pathLst>
                <a:path w="28569" h="28569"/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2658EC17-E3CE-4E7A-B985-0B99B1FA1296}"/>
                </a:ext>
              </a:extLst>
            </p:cNvPr>
            <p:cNvSpPr/>
            <p:nvPr/>
          </p:nvSpPr>
          <p:spPr>
            <a:xfrm>
              <a:off x="9058060" y="3150732"/>
              <a:ext cx="294316" cy="398952"/>
            </a:xfrm>
            <a:custGeom>
              <a:avLst/>
              <a:gdLst>
                <a:gd name="connsiteX0" fmla="*/ 226036 w 294316"/>
                <a:gd name="connsiteY0" fmla="*/ 343115 h 398952"/>
                <a:gd name="connsiteX1" fmla="*/ 120902 w 294316"/>
                <a:gd name="connsiteY1" fmla="*/ 304261 h 398952"/>
                <a:gd name="connsiteX2" fmla="*/ 231464 w 294316"/>
                <a:gd name="connsiteY2" fmla="*/ 259122 h 398952"/>
                <a:gd name="connsiteX3" fmla="*/ 191468 w 294316"/>
                <a:gd name="connsiteY3" fmla="*/ 147988 h 398952"/>
                <a:gd name="connsiteX4" fmla="*/ 294316 w 294316"/>
                <a:gd name="connsiteY4" fmla="*/ 71423 h 398952"/>
                <a:gd name="connsiteX5" fmla="*/ 54050 w 294316"/>
                <a:gd name="connsiteY5" fmla="*/ 0 h 398952"/>
                <a:gd name="connsiteX6" fmla="*/ 32909 w 294316"/>
                <a:gd name="connsiteY6" fmla="*/ 121990 h 398952"/>
                <a:gd name="connsiteX7" fmla="*/ 105760 w 294316"/>
                <a:gd name="connsiteY7" fmla="*/ 201698 h 398952"/>
                <a:gd name="connsiteX8" fmla="*/ 340 w 294316"/>
                <a:gd name="connsiteY8" fmla="*/ 251408 h 398952"/>
                <a:gd name="connsiteX9" fmla="*/ 47765 w 294316"/>
                <a:gd name="connsiteY9" fmla="*/ 312832 h 398952"/>
                <a:gd name="connsiteX10" fmla="*/ 106046 w 294316"/>
                <a:gd name="connsiteY10" fmla="*/ 393397 h 398952"/>
                <a:gd name="connsiteX11" fmla="*/ 226036 w 294316"/>
                <a:gd name="connsiteY11" fmla="*/ 343115 h 39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4316" h="398952">
                  <a:moveTo>
                    <a:pt x="226036" y="343115"/>
                  </a:moveTo>
                  <a:cubicBezTo>
                    <a:pt x="221751" y="317689"/>
                    <a:pt x="120616" y="317974"/>
                    <a:pt x="120902" y="304261"/>
                  </a:cubicBezTo>
                  <a:cubicBezTo>
                    <a:pt x="121188" y="291405"/>
                    <a:pt x="210609" y="299404"/>
                    <a:pt x="231464" y="259122"/>
                  </a:cubicBezTo>
                  <a:cubicBezTo>
                    <a:pt x="248606" y="225982"/>
                    <a:pt x="185468" y="193699"/>
                    <a:pt x="191468" y="147988"/>
                  </a:cubicBezTo>
                  <a:cubicBezTo>
                    <a:pt x="196324" y="108848"/>
                    <a:pt x="246320" y="89993"/>
                    <a:pt x="294316" y="71423"/>
                  </a:cubicBezTo>
                  <a:cubicBezTo>
                    <a:pt x="214323" y="41425"/>
                    <a:pt x="133472" y="17999"/>
                    <a:pt x="54050" y="0"/>
                  </a:cubicBezTo>
                  <a:cubicBezTo>
                    <a:pt x="29766" y="43996"/>
                    <a:pt x="20339" y="90850"/>
                    <a:pt x="32909" y="121990"/>
                  </a:cubicBezTo>
                  <a:cubicBezTo>
                    <a:pt x="50336" y="165415"/>
                    <a:pt x="111188" y="178557"/>
                    <a:pt x="105760" y="201698"/>
                  </a:cubicBezTo>
                  <a:cubicBezTo>
                    <a:pt x="99189" y="229981"/>
                    <a:pt x="6911" y="221125"/>
                    <a:pt x="340" y="251408"/>
                  </a:cubicBezTo>
                  <a:cubicBezTo>
                    <a:pt x="-2803" y="265407"/>
                    <a:pt x="16053" y="272835"/>
                    <a:pt x="47765" y="312832"/>
                  </a:cubicBezTo>
                  <a:cubicBezTo>
                    <a:pt x="87476" y="362828"/>
                    <a:pt x="82905" y="382540"/>
                    <a:pt x="106046" y="393397"/>
                  </a:cubicBezTo>
                  <a:cubicBezTo>
                    <a:pt x="151757" y="415395"/>
                    <a:pt x="230036" y="366542"/>
                    <a:pt x="226036" y="343115"/>
                  </a:cubicBezTo>
                  <a:close/>
                </a:path>
              </a:pathLst>
            </a:custGeom>
            <a:solidFill>
              <a:srgbClr val="D1C025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51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8603417" y="3076810"/>
              <a:ext cx="342893" cy="418074"/>
              <a:chOff x="8603417" y="3076810"/>
              <a:chExt cx="342893" cy="418074"/>
            </a:xfrm>
          </p:grpSpPr>
          <p:sp>
            <p:nvSpPr>
              <p:cNvPr id="1352" name="Freeform: Shape 1351">
                <a:extLst>
                  <a:ext uri="{FF2B5EF4-FFF2-40B4-BE49-F238E27FC236}">
                    <a16:creationId xmlns:a16="http://schemas.microsoft.com/office/drawing/2014/main" id="{8DD8F2AE-5470-47F3-BD14-2FFD044AB8A0}"/>
                  </a:ext>
                </a:extLst>
              </p:cNvPr>
              <p:cNvSpPr/>
              <p:nvPr/>
            </p:nvSpPr>
            <p:spPr>
              <a:xfrm>
                <a:off x="8715856" y="3083918"/>
                <a:ext cx="85707" cy="22246"/>
              </a:xfrm>
              <a:custGeom>
                <a:avLst/>
                <a:gdLst>
                  <a:gd name="connsiteX0" fmla="*/ 57995 w 85707"/>
                  <a:gd name="connsiteY0" fmla="*/ 2533 h 22246"/>
                  <a:gd name="connsiteX1" fmla="*/ 42282 w 85707"/>
                  <a:gd name="connsiteY1" fmla="*/ 1105 h 22246"/>
                  <a:gd name="connsiteX2" fmla="*/ 9428 w 85707"/>
                  <a:gd name="connsiteY2" fmla="*/ 18818 h 22246"/>
                  <a:gd name="connsiteX3" fmla="*/ 0 w 85707"/>
                  <a:gd name="connsiteY3" fmla="*/ 18532 h 22246"/>
                  <a:gd name="connsiteX4" fmla="*/ 85707 w 85707"/>
                  <a:gd name="connsiteY4" fmla="*/ 22246 h 22246"/>
                  <a:gd name="connsiteX5" fmla="*/ 57995 w 85707"/>
                  <a:gd name="connsiteY5" fmla="*/ 2533 h 2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07" h="22246">
                    <a:moveTo>
                      <a:pt x="57995" y="2533"/>
                    </a:moveTo>
                    <a:cubicBezTo>
                      <a:pt x="54567" y="-38"/>
                      <a:pt x="45996" y="-895"/>
                      <a:pt x="42282" y="1105"/>
                    </a:cubicBezTo>
                    <a:cubicBezTo>
                      <a:pt x="31140" y="6533"/>
                      <a:pt x="20284" y="12533"/>
                      <a:pt x="9428" y="18818"/>
                    </a:cubicBezTo>
                    <a:cubicBezTo>
                      <a:pt x="6285" y="18818"/>
                      <a:pt x="3143" y="18818"/>
                      <a:pt x="0" y="18532"/>
                    </a:cubicBezTo>
                    <a:cubicBezTo>
                      <a:pt x="27998" y="19103"/>
                      <a:pt x="56567" y="20246"/>
                      <a:pt x="85707" y="22246"/>
                    </a:cubicBezTo>
                    <a:cubicBezTo>
                      <a:pt x="76565" y="15961"/>
                      <a:pt x="67423" y="9390"/>
                      <a:pt x="57995" y="2533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3" name="Freeform: Shape 1352">
                <a:extLst>
                  <a:ext uri="{FF2B5EF4-FFF2-40B4-BE49-F238E27FC236}">
                    <a16:creationId xmlns:a16="http://schemas.microsoft.com/office/drawing/2014/main" id="{A4520E64-9435-41B9-9F24-381A30ADE9F5}"/>
                  </a:ext>
                </a:extLst>
              </p:cNvPr>
              <p:cNvSpPr/>
              <p:nvPr/>
            </p:nvSpPr>
            <p:spPr>
              <a:xfrm>
                <a:off x="8650147" y="3191242"/>
                <a:ext cx="296163" cy="303642"/>
              </a:xfrm>
              <a:custGeom>
                <a:avLst/>
                <a:gdLst>
                  <a:gd name="connsiteX0" fmla="*/ 136560 w 296163"/>
                  <a:gd name="connsiteY0" fmla="*/ 92336 h 303642"/>
                  <a:gd name="connsiteX1" fmla="*/ 84565 w 296163"/>
                  <a:gd name="connsiteY1" fmla="*/ 227754 h 303642"/>
                  <a:gd name="connsiteX2" fmla="*/ 152273 w 296163"/>
                  <a:gd name="connsiteY2" fmla="*/ 302890 h 303642"/>
                  <a:gd name="connsiteX3" fmla="*/ 181128 w 296163"/>
                  <a:gd name="connsiteY3" fmla="*/ 198042 h 303642"/>
                  <a:gd name="connsiteX4" fmla="*/ 294833 w 296163"/>
                  <a:gd name="connsiteY4" fmla="*/ 113763 h 303642"/>
                  <a:gd name="connsiteX5" fmla="*/ 215697 w 296163"/>
                  <a:gd name="connsiteY5" fmla="*/ 8914 h 303642"/>
                  <a:gd name="connsiteX6" fmla="*/ 0 w 296163"/>
                  <a:gd name="connsiteY6" fmla="*/ 58 h 303642"/>
                  <a:gd name="connsiteX7" fmla="*/ 136560 w 296163"/>
                  <a:gd name="connsiteY7" fmla="*/ 92336 h 303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163" h="303642">
                    <a:moveTo>
                      <a:pt x="136560" y="92336"/>
                    </a:moveTo>
                    <a:cubicBezTo>
                      <a:pt x="142274" y="140904"/>
                      <a:pt x="75708" y="166901"/>
                      <a:pt x="84565" y="227754"/>
                    </a:cubicBezTo>
                    <a:cubicBezTo>
                      <a:pt x="90850" y="272036"/>
                      <a:pt x="133132" y="309461"/>
                      <a:pt x="152273" y="302890"/>
                    </a:cubicBezTo>
                    <a:cubicBezTo>
                      <a:pt x="172272" y="296034"/>
                      <a:pt x="151416" y="246609"/>
                      <a:pt x="181128" y="198042"/>
                    </a:cubicBezTo>
                    <a:cubicBezTo>
                      <a:pt x="217125" y="140046"/>
                      <a:pt x="283977" y="151474"/>
                      <a:pt x="294833" y="113763"/>
                    </a:cubicBezTo>
                    <a:cubicBezTo>
                      <a:pt x="305404" y="77766"/>
                      <a:pt x="250551" y="47197"/>
                      <a:pt x="215697" y="8914"/>
                    </a:cubicBezTo>
                    <a:cubicBezTo>
                      <a:pt x="138846" y="3200"/>
                      <a:pt x="67137" y="-514"/>
                      <a:pt x="0" y="58"/>
                    </a:cubicBezTo>
                    <a:cubicBezTo>
                      <a:pt x="52281" y="30912"/>
                      <a:pt x="130561" y="41197"/>
                      <a:pt x="136560" y="92336"/>
                    </a:cubicBezTo>
                    <a:close/>
                  </a:path>
                </a:pathLst>
              </a:custGeom>
              <a:solidFill>
                <a:srgbClr val="D1C025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4" name="Freeform: Shape 1353">
                <a:extLst>
                  <a:ext uri="{FF2B5EF4-FFF2-40B4-BE49-F238E27FC236}">
                    <a16:creationId xmlns:a16="http://schemas.microsoft.com/office/drawing/2014/main" id="{5656A7A8-58CD-4E14-83E6-214C76AE71EC}"/>
                  </a:ext>
                </a:extLst>
              </p:cNvPr>
              <p:cNvSpPr/>
              <p:nvPr/>
            </p:nvSpPr>
            <p:spPr>
              <a:xfrm>
                <a:off x="8632720" y="3076810"/>
                <a:ext cx="80564" cy="25925"/>
              </a:xfrm>
              <a:custGeom>
                <a:avLst/>
                <a:gdLst>
                  <a:gd name="connsiteX0" fmla="*/ 49424 w 80564"/>
                  <a:gd name="connsiteY0" fmla="*/ 2499 h 25925"/>
                  <a:gd name="connsiteX1" fmla="*/ 33712 w 80564"/>
                  <a:gd name="connsiteY1" fmla="*/ 1642 h 25925"/>
                  <a:gd name="connsiteX2" fmla="*/ 0 w 80564"/>
                  <a:gd name="connsiteY2" fmla="*/ 25926 h 25925"/>
                  <a:gd name="connsiteX3" fmla="*/ 80565 w 80564"/>
                  <a:gd name="connsiteY3" fmla="*/ 25640 h 25925"/>
                  <a:gd name="connsiteX4" fmla="*/ 49424 w 80564"/>
                  <a:gd name="connsiteY4" fmla="*/ 2499 h 2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564" h="25925">
                    <a:moveTo>
                      <a:pt x="49424" y="2499"/>
                    </a:moveTo>
                    <a:cubicBezTo>
                      <a:pt x="45711" y="-358"/>
                      <a:pt x="37425" y="-929"/>
                      <a:pt x="33712" y="1642"/>
                    </a:cubicBezTo>
                    <a:cubicBezTo>
                      <a:pt x="22284" y="9070"/>
                      <a:pt x="11142" y="17355"/>
                      <a:pt x="0" y="25926"/>
                    </a:cubicBezTo>
                    <a:cubicBezTo>
                      <a:pt x="25998" y="25354"/>
                      <a:pt x="52853" y="25069"/>
                      <a:pt x="80565" y="25640"/>
                    </a:cubicBezTo>
                    <a:cubicBezTo>
                      <a:pt x="70280" y="18212"/>
                      <a:pt x="59709" y="10498"/>
                      <a:pt x="49424" y="2499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5" name="Freeform: Shape 1354">
                <a:extLst>
                  <a:ext uri="{FF2B5EF4-FFF2-40B4-BE49-F238E27FC236}">
                    <a16:creationId xmlns:a16="http://schemas.microsoft.com/office/drawing/2014/main" id="{86C6B7E5-AD03-44D4-B76A-60C19C6C248E}"/>
                  </a:ext>
                </a:extLst>
              </p:cNvPr>
              <p:cNvSpPr/>
              <p:nvPr/>
            </p:nvSpPr>
            <p:spPr>
              <a:xfrm>
                <a:off x="8604722" y="3090451"/>
                <a:ext cx="19427" cy="13427"/>
              </a:xfrm>
              <a:custGeom>
                <a:avLst/>
                <a:gdLst>
                  <a:gd name="connsiteX0" fmla="*/ 19141 w 19427"/>
                  <a:gd name="connsiteY0" fmla="*/ 12570 h 13427"/>
                  <a:gd name="connsiteX1" fmla="*/ 2571 w 19427"/>
                  <a:gd name="connsiteY1" fmla="*/ 0 h 13427"/>
                  <a:gd name="connsiteX2" fmla="*/ 0 w 19427"/>
                  <a:gd name="connsiteY2" fmla="*/ 13427 h 13427"/>
                  <a:gd name="connsiteX3" fmla="*/ 19427 w 19427"/>
                  <a:gd name="connsiteY3" fmla="*/ 12856 h 13427"/>
                  <a:gd name="connsiteX4" fmla="*/ 19141 w 19427"/>
                  <a:gd name="connsiteY4" fmla="*/ 12570 h 1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27" h="13427">
                    <a:moveTo>
                      <a:pt x="19141" y="12570"/>
                    </a:moveTo>
                    <a:cubicBezTo>
                      <a:pt x="13713" y="8285"/>
                      <a:pt x="8285" y="4285"/>
                      <a:pt x="2571" y="0"/>
                    </a:cubicBezTo>
                    <a:cubicBezTo>
                      <a:pt x="1428" y="4571"/>
                      <a:pt x="571" y="8856"/>
                      <a:pt x="0" y="13427"/>
                    </a:cubicBezTo>
                    <a:cubicBezTo>
                      <a:pt x="6285" y="13142"/>
                      <a:pt x="12856" y="12856"/>
                      <a:pt x="19427" y="12856"/>
                    </a:cubicBezTo>
                    <a:cubicBezTo>
                      <a:pt x="19427" y="12570"/>
                      <a:pt x="19427" y="12570"/>
                      <a:pt x="19141" y="12570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6" name="Freeform: Shape 1355">
                <a:extLst>
                  <a:ext uri="{FF2B5EF4-FFF2-40B4-BE49-F238E27FC236}">
                    <a16:creationId xmlns:a16="http://schemas.microsoft.com/office/drawing/2014/main" id="{61CF3A76-A986-4E0D-8E80-2CCCCF043C3C}"/>
                  </a:ext>
                </a:extLst>
              </p:cNvPr>
              <p:cNvSpPr/>
              <p:nvPr/>
            </p:nvSpPr>
            <p:spPr>
              <a:xfrm>
                <a:off x="8818991" y="3095076"/>
                <a:ext cx="39996" cy="14516"/>
              </a:xfrm>
              <a:custGeom>
                <a:avLst/>
                <a:gdLst>
                  <a:gd name="connsiteX0" fmla="*/ 39997 w 39996"/>
                  <a:gd name="connsiteY0" fmla="*/ 803 h 14516"/>
                  <a:gd name="connsiteX1" fmla="*/ 30283 w 39996"/>
                  <a:gd name="connsiteY1" fmla="*/ 517 h 14516"/>
                  <a:gd name="connsiteX2" fmla="*/ 0 w 39996"/>
                  <a:gd name="connsiteY2" fmla="*/ 12231 h 14516"/>
                  <a:gd name="connsiteX3" fmla="*/ 29998 w 39996"/>
                  <a:gd name="connsiteY3" fmla="*/ 14516 h 14516"/>
                  <a:gd name="connsiteX4" fmla="*/ 39997 w 39996"/>
                  <a:gd name="connsiteY4" fmla="*/ 803 h 1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996" h="14516">
                    <a:moveTo>
                      <a:pt x="39997" y="803"/>
                    </a:moveTo>
                    <a:cubicBezTo>
                      <a:pt x="36568" y="-54"/>
                      <a:pt x="32569" y="-340"/>
                      <a:pt x="30283" y="517"/>
                    </a:cubicBezTo>
                    <a:cubicBezTo>
                      <a:pt x="20284" y="3660"/>
                      <a:pt x="9999" y="7945"/>
                      <a:pt x="0" y="12231"/>
                    </a:cubicBezTo>
                    <a:cubicBezTo>
                      <a:pt x="9999" y="13088"/>
                      <a:pt x="19998" y="13659"/>
                      <a:pt x="29998" y="14516"/>
                    </a:cubicBezTo>
                    <a:cubicBezTo>
                      <a:pt x="32855" y="9945"/>
                      <a:pt x="35997" y="5374"/>
                      <a:pt x="39997" y="803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7" name="Freeform: Shape 1356">
                <a:extLst>
                  <a:ext uri="{FF2B5EF4-FFF2-40B4-BE49-F238E27FC236}">
                    <a16:creationId xmlns:a16="http://schemas.microsoft.com/office/drawing/2014/main" id="{ED5ADAE8-6714-4AB9-B4D4-3F667D4AA496}"/>
                  </a:ext>
                </a:extLst>
              </p:cNvPr>
              <p:cNvSpPr/>
              <p:nvPr/>
            </p:nvSpPr>
            <p:spPr>
              <a:xfrm>
                <a:off x="8801849" y="3106164"/>
                <a:ext cx="17141" cy="1142"/>
              </a:xfrm>
              <a:custGeom>
                <a:avLst/>
                <a:gdLst>
                  <a:gd name="connsiteX0" fmla="*/ 17141 w 17141"/>
                  <a:gd name="connsiteY0" fmla="*/ 1143 h 1142"/>
                  <a:gd name="connsiteX1" fmla="*/ 17141 w 17141"/>
                  <a:gd name="connsiteY1" fmla="*/ 1143 h 1142"/>
                  <a:gd name="connsiteX2" fmla="*/ 0 w 17141"/>
                  <a:gd name="connsiteY2" fmla="*/ 0 h 1142"/>
                  <a:gd name="connsiteX3" fmla="*/ 0 w 17141"/>
                  <a:gd name="connsiteY3" fmla="*/ 0 h 1142"/>
                  <a:gd name="connsiteX4" fmla="*/ 17141 w 17141"/>
                  <a:gd name="connsiteY4" fmla="*/ 1143 h 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1" h="1142">
                    <a:moveTo>
                      <a:pt x="17141" y="1143"/>
                    </a:moveTo>
                    <a:lnTo>
                      <a:pt x="17141" y="1143"/>
                    </a:lnTo>
                    <a:cubicBezTo>
                      <a:pt x="11428" y="857"/>
                      <a:pt x="5714" y="286"/>
                      <a:pt x="0" y="0"/>
                    </a:cubicBezTo>
                    <a:lnTo>
                      <a:pt x="0" y="0"/>
                    </a:lnTo>
                    <a:cubicBezTo>
                      <a:pt x="5428" y="286"/>
                      <a:pt x="11428" y="857"/>
                      <a:pt x="17141" y="1143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8" name="Freeform: Shape 1357">
                <a:extLst>
                  <a:ext uri="{FF2B5EF4-FFF2-40B4-BE49-F238E27FC236}">
                    <a16:creationId xmlns:a16="http://schemas.microsoft.com/office/drawing/2014/main" id="{FF8F04B8-9BBA-4364-A89B-E6A09A4D0B8A}"/>
                  </a:ext>
                </a:extLst>
              </p:cNvPr>
              <p:cNvSpPr/>
              <p:nvPr/>
            </p:nvSpPr>
            <p:spPr>
              <a:xfrm>
                <a:off x="8624149" y="3102736"/>
                <a:ext cx="8570" cy="285"/>
              </a:xfrm>
              <a:custGeom>
                <a:avLst/>
                <a:gdLst>
                  <a:gd name="connsiteX0" fmla="*/ 8571 w 8570"/>
                  <a:gd name="connsiteY0" fmla="*/ 0 h 285"/>
                  <a:gd name="connsiteX1" fmla="*/ 0 w 8570"/>
                  <a:gd name="connsiteY1" fmla="*/ 286 h 285"/>
                  <a:gd name="connsiteX2" fmla="*/ 8571 w 8570"/>
                  <a:gd name="connsiteY2" fmla="*/ 0 h 285"/>
                  <a:gd name="connsiteX3" fmla="*/ 8571 w 8570"/>
                  <a:gd name="connsiteY3" fmla="*/ 0 h 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0" h="285">
                    <a:moveTo>
                      <a:pt x="8571" y="0"/>
                    </a:moveTo>
                    <a:cubicBezTo>
                      <a:pt x="5714" y="0"/>
                      <a:pt x="2857" y="0"/>
                      <a:pt x="0" y="286"/>
                    </a:cubicBezTo>
                    <a:cubicBezTo>
                      <a:pt x="2857" y="0"/>
                      <a:pt x="5714" y="0"/>
                      <a:pt x="8571" y="0"/>
                    </a:cubicBezTo>
                    <a:lnTo>
                      <a:pt x="8571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9" name="Freeform: Shape 1358">
                <a:extLst>
                  <a:ext uri="{FF2B5EF4-FFF2-40B4-BE49-F238E27FC236}">
                    <a16:creationId xmlns:a16="http://schemas.microsoft.com/office/drawing/2014/main" id="{73110F5B-E0CE-4401-AC94-3BFB3A8FD9CF}"/>
                  </a:ext>
                </a:extLst>
              </p:cNvPr>
              <p:cNvSpPr/>
              <p:nvPr/>
            </p:nvSpPr>
            <p:spPr>
              <a:xfrm>
                <a:off x="8712999" y="3102450"/>
                <a:ext cx="2856" cy="28569"/>
              </a:xfrm>
              <a:custGeom>
                <a:avLst/>
                <a:gdLst>
                  <a:gd name="connsiteX0" fmla="*/ 2857 w 2856"/>
                  <a:gd name="connsiteY0" fmla="*/ 0 h 28569"/>
                  <a:gd name="connsiteX1" fmla="*/ 0 w 2856"/>
                  <a:gd name="connsiteY1" fmla="*/ 0 h 28569"/>
                  <a:gd name="connsiteX2" fmla="*/ 0 w 2856"/>
                  <a:gd name="connsiteY2" fmla="*/ 0 h 28569"/>
                  <a:gd name="connsiteX3" fmla="*/ 2857 w 2856"/>
                  <a:gd name="connsiteY3" fmla="*/ 0 h 28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6" h="28569">
                    <a:moveTo>
                      <a:pt x="2857" y="0"/>
                    </a:moveTo>
                    <a:cubicBezTo>
                      <a:pt x="2000" y="0"/>
                      <a:pt x="857" y="0"/>
                      <a:pt x="0" y="0"/>
                    </a:cubicBezTo>
                    <a:lnTo>
                      <a:pt x="0" y="0"/>
                    </a:lnTo>
                    <a:cubicBezTo>
                      <a:pt x="1143" y="0"/>
                      <a:pt x="2000" y="0"/>
                      <a:pt x="2857" y="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0" name="Freeform: Shape 1359">
                <a:extLst>
                  <a:ext uri="{FF2B5EF4-FFF2-40B4-BE49-F238E27FC236}">
                    <a16:creationId xmlns:a16="http://schemas.microsoft.com/office/drawing/2014/main" id="{84090B5A-20A3-4602-BCEA-93E34DFEF3FF}"/>
                  </a:ext>
                </a:extLst>
              </p:cNvPr>
              <p:cNvSpPr/>
              <p:nvPr/>
            </p:nvSpPr>
            <p:spPr>
              <a:xfrm>
                <a:off x="8603417" y="3102093"/>
                <a:ext cx="262427" cy="98063"/>
              </a:xfrm>
              <a:custGeom>
                <a:avLst/>
                <a:gdLst>
                  <a:gd name="connsiteX0" fmla="*/ 245286 w 262427"/>
                  <a:gd name="connsiteY0" fmla="*/ 7785 h 98063"/>
                  <a:gd name="connsiteX1" fmla="*/ 215288 w 262427"/>
                  <a:gd name="connsiteY1" fmla="*/ 5500 h 98063"/>
                  <a:gd name="connsiteX2" fmla="*/ 215288 w 262427"/>
                  <a:gd name="connsiteY2" fmla="*/ 5500 h 98063"/>
                  <a:gd name="connsiteX3" fmla="*/ 198147 w 262427"/>
                  <a:gd name="connsiteY3" fmla="*/ 4357 h 98063"/>
                  <a:gd name="connsiteX4" fmla="*/ 198147 w 262427"/>
                  <a:gd name="connsiteY4" fmla="*/ 4357 h 98063"/>
                  <a:gd name="connsiteX5" fmla="*/ 112440 w 262427"/>
                  <a:gd name="connsiteY5" fmla="*/ 643 h 98063"/>
                  <a:gd name="connsiteX6" fmla="*/ 109583 w 262427"/>
                  <a:gd name="connsiteY6" fmla="*/ 643 h 98063"/>
                  <a:gd name="connsiteX7" fmla="*/ 109583 w 262427"/>
                  <a:gd name="connsiteY7" fmla="*/ 643 h 98063"/>
                  <a:gd name="connsiteX8" fmla="*/ 29304 w 262427"/>
                  <a:gd name="connsiteY8" fmla="*/ 643 h 98063"/>
                  <a:gd name="connsiteX9" fmla="*/ 29304 w 262427"/>
                  <a:gd name="connsiteY9" fmla="*/ 643 h 98063"/>
                  <a:gd name="connsiteX10" fmla="*/ 20733 w 262427"/>
                  <a:gd name="connsiteY10" fmla="*/ 928 h 98063"/>
                  <a:gd name="connsiteX11" fmla="*/ 1306 w 262427"/>
                  <a:gd name="connsiteY11" fmla="*/ 1500 h 98063"/>
                  <a:gd name="connsiteX12" fmla="*/ 4163 w 262427"/>
                  <a:gd name="connsiteY12" fmla="*/ 43211 h 98063"/>
                  <a:gd name="connsiteX13" fmla="*/ 46731 w 262427"/>
                  <a:gd name="connsiteY13" fmla="*/ 89207 h 98063"/>
                  <a:gd name="connsiteX14" fmla="*/ 262427 w 262427"/>
                  <a:gd name="connsiteY14" fmla="*/ 98063 h 98063"/>
                  <a:gd name="connsiteX15" fmla="*/ 235001 w 262427"/>
                  <a:gd name="connsiteY15" fmla="*/ 41211 h 98063"/>
                  <a:gd name="connsiteX16" fmla="*/ 245286 w 262427"/>
                  <a:gd name="connsiteY16" fmla="*/ 7785 h 98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2427" h="98063">
                    <a:moveTo>
                      <a:pt x="245286" y="7785"/>
                    </a:moveTo>
                    <a:cubicBezTo>
                      <a:pt x="235287" y="6928"/>
                      <a:pt x="225288" y="6071"/>
                      <a:pt x="215288" y="5500"/>
                    </a:cubicBezTo>
                    <a:lnTo>
                      <a:pt x="215288" y="5500"/>
                    </a:lnTo>
                    <a:cubicBezTo>
                      <a:pt x="209575" y="5214"/>
                      <a:pt x="203861" y="4642"/>
                      <a:pt x="198147" y="4357"/>
                    </a:cubicBezTo>
                    <a:lnTo>
                      <a:pt x="198147" y="4357"/>
                    </a:lnTo>
                    <a:cubicBezTo>
                      <a:pt x="169007" y="2357"/>
                      <a:pt x="140152" y="1214"/>
                      <a:pt x="112440" y="643"/>
                    </a:cubicBezTo>
                    <a:cubicBezTo>
                      <a:pt x="111583" y="643"/>
                      <a:pt x="110440" y="643"/>
                      <a:pt x="109583" y="643"/>
                    </a:cubicBezTo>
                    <a:lnTo>
                      <a:pt x="109583" y="643"/>
                    </a:lnTo>
                    <a:cubicBezTo>
                      <a:pt x="82156" y="-214"/>
                      <a:pt x="55301" y="-214"/>
                      <a:pt x="29304" y="643"/>
                    </a:cubicBezTo>
                    <a:lnTo>
                      <a:pt x="29304" y="643"/>
                    </a:lnTo>
                    <a:cubicBezTo>
                      <a:pt x="26447" y="643"/>
                      <a:pt x="23590" y="643"/>
                      <a:pt x="20733" y="928"/>
                    </a:cubicBezTo>
                    <a:cubicBezTo>
                      <a:pt x="14162" y="1214"/>
                      <a:pt x="7877" y="1500"/>
                      <a:pt x="1306" y="1500"/>
                    </a:cubicBezTo>
                    <a:cubicBezTo>
                      <a:pt x="-980" y="16642"/>
                      <a:pt x="-408" y="30926"/>
                      <a:pt x="4163" y="43211"/>
                    </a:cubicBezTo>
                    <a:cubicBezTo>
                      <a:pt x="11305" y="63495"/>
                      <a:pt x="27018" y="77779"/>
                      <a:pt x="46731" y="89207"/>
                    </a:cubicBezTo>
                    <a:cubicBezTo>
                      <a:pt x="113868" y="88636"/>
                      <a:pt x="185576" y="92350"/>
                      <a:pt x="262427" y="98063"/>
                    </a:cubicBezTo>
                    <a:cubicBezTo>
                      <a:pt x="246715" y="80922"/>
                      <a:pt x="235001" y="62352"/>
                      <a:pt x="235001" y="41211"/>
                    </a:cubicBezTo>
                    <a:cubicBezTo>
                      <a:pt x="235001" y="29212"/>
                      <a:pt x="239001" y="18356"/>
                      <a:pt x="245286" y="7785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957CBA2E-B84F-4948-93C8-5D802FEC9A9C}"/>
                </a:ext>
              </a:extLst>
            </p:cNvPr>
            <p:cNvSpPr/>
            <p:nvPr/>
          </p:nvSpPr>
          <p:spPr>
            <a:xfrm>
              <a:off x="8201726" y="3127876"/>
              <a:ext cx="283327" cy="208840"/>
            </a:xfrm>
            <a:custGeom>
              <a:avLst/>
              <a:gdLst>
                <a:gd name="connsiteX0" fmla="*/ 189585 w 283327"/>
                <a:gd name="connsiteY0" fmla="*/ 0 h 208840"/>
                <a:gd name="connsiteX1" fmla="*/ 159873 w 283327"/>
                <a:gd name="connsiteY1" fmla="*/ 6571 h 208840"/>
                <a:gd name="connsiteX2" fmla="*/ 159873 w 283327"/>
                <a:gd name="connsiteY2" fmla="*/ 6571 h 208840"/>
                <a:gd name="connsiteX3" fmla="*/ 158159 w 283327"/>
                <a:gd name="connsiteY3" fmla="*/ 6857 h 208840"/>
                <a:gd name="connsiteX4" fmla="*/ 74166 w 283327"/>
                <a:gd name="connsiteY4" fmla="*/ 32283 h 208840"/>
                <a:gd name="connsiteX5" fmla="*/ 74166 w 283327"/>
                <a:gd name="connsiteY5" fmla="*/ 32283 h 208840"/>
                <a:gd name="connsiteX6" fmla="*/ 73595 w 283327"/>
                <a:gd name="connsiteY6" fmla="*/ 32569 h 208840"/>
                <a:gd name="connsiteX7" fmla="*/ 55596 w 283327"/>
                <a:gd name="connsiteY7" fmla="*/ 39140 h 208840"/>
                <a:gd name="connsiteX8" fmla="*/ 114163 w 283327"/>
                <a:gd name="connsiteY8" fmla="*/ 64281 h 208840"/>
                <a:gd name="connsiteX9" fmla="*/ 743 w 283327"/>
                <a:gd name="connsiteY9" fmla="*/ 206840 h 208840"/>
                <a:gd name="connsiteX10" fmla="*/ 1600 w 283327"/>
                <a:gd name="connsiteY10" fmla="*/ 208840 h 208840"/>
                <a:gd name="connsiteX11" fmla="*/ 40740 w 283327"/>
                <a:gd name="connsiteY11" fmla="*/ 179128 h 208840"/>
                <a:gd name="connsiteX12" fmla="*/ 280721 w 283327"/>
                <a:gd name="connsiteY12" fmla="*/ 77994 h 208840"/>
                <a:gd name="connsiteX13" fmla="*/ 283292 w 283327"/>
                <a:gd name="connsiteY13" fmla="*/ 68280 h 208840"/>
                <a:gd name="connsiteX14" fmla="*/ 189585 w 283327"/>
                <a:gd name="connsiteY14" fmla="*/ 0 h 20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3327" h="208840">
                  <a:moveTo>
                    <a:pt x="189585" y="0"/>
                  </a:moveTo>
                  <a:cubicBezTo>
                    <a:pt x="179586" y="2000"/>
                    <a:pt x="169587" y="4000"/>
                    <a:pt x="159873" y="6571"/>
                  </a:cubicBezTo>
                  <a:lnTo>
                    <a:pt x="159873" y="6571"/>
                  </a:lnTo>
                  <a:cubicBezTo>
                    <a:pt x="159302" y="6571"/>
                    <a:pt x="158730" y="6857"/>
                    <a:pt x="158159" y="6857"/>
                  </a:cubicBezTo>
                  <a:cubicBezTo>
                    <a:pt x="129304" y="13999"/>
                    <a:pt x="101307" y="22570"/>
                    <a:pt x="74166" y="32283"/>
                  </a:cubicBezTo>
                  <a:lnTo>
                    <a:pt x="74166" y="32283"/>
                  </a:lnTo>
                  <a:cubicBezTo>
                    <a:pt x="73880" y="32283"/>
                    <a:pt x="73595" y="32569"/>
                    <a:pt x="73595" y="32569"/>
                  </a:cubicBezTo>
                  <a:cubicBezTo>
                    <a:pt x="67595" y="34854"/>
                    <a:pt x="61595" y="36854"/>
                    <a:pt x="55596" y="39140"/>
                  </a:cubicBezTo>
                  <a:cubicBezTo>
                    <a:pt x="86165" y="42854"/>
                    <a:pt x="109592" y="47425"/>
                    <a:pt x="114163" y="64281"/>
                  </a:cubicBezTo>
                  <a:cubicBezTo>
                    <a:pt x="126162" y="108277"/>
                    <a:pt x="-11256" y="166558"/>
                    <a:pt x="743" y="206840"/>
                  </a:cubicBezTo>
                  <a:cubicBezTo>
                    <a:pt x="1029" y="207412"/>
                    <a:pt x="1315" y="208269"/>
                    <a:pt x="1600" y="208840"/>
                  </a:cubicBezTo>
                  <a:cubicBezTo>
                    <a:pt x="17885" y="196555"/>
                    <a:pt x="31027" y="186271"/>
                    <a:pt x="40740" y="179128"/>
                  </a:cubicBezTo>
                  <a:cubicBezTo>
                    <a:pt x="113591" y="124561"/>
                    <a:pt x="193013" y="93992"/>
                    <a:pt x="280721" y="77994"/>
                  </a:cubicBezTo>
                  <a:cubicBezTo>
                    <a:pt x="282149" y="74851"/>
                    <a:pt x="283292" y="71708"/>
                    <a:pt x="283292" y="68280"/>
                  </a:cubicBezTo>
                  <a:cubicBezTo>
                    <a:pt x="284720" y="41711"/>
                    <a:pt x="243009" y="20855"/>
                    <a:pt x="189585" y="0"/>
                  </a:cubicBezTo>
                  <a:close/>
                </a:path>
              </a:pathLst>
            </a:custGeom>
            <a:solidFill>
              <a:srgbClr val="FFE12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62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8201726" y="3102820"/>
              <a:ext cx="384323" cy="444681"/>
              <a:chOff x="8201726" y="3102820"/>
              <a:chExt cx="384323" cy="444681"/>
            </a:xfrm>
          </p:grpSpPr>
          <p:grpSp>
            <p:nvGrpSpPr>
              <p:cNvPr id="1363" name="Graphic 1287">
                <a:extLst>
                  <a:ext uri="{FF2B5EF4-FFF2-40B4-BE49-F238E27FC236}">
                    <a16:creationId xmlns:a16="http://schemas.microsoft.com/office/drawing/2014/main" id="{3AF0CC9A-49BC-41AD-A10C-81F1C9646867}"/>
                  </a:ext>
                </a:extLst>
              </p:cNvPr>
              <p:cNvGrpSpPr/>
              <p:nvPr/>
            </p:nvGrpSpPr>
            <p:grpSpPr>
              <a:xfrm>
                <a:off x="8202184" y="3102820"/>
                <a:ext cx="188841" cy="64482"/>
                <a:chOff x="8202184" y="3102820"/>
                <a:chExt cx="188841" cy="64482"/>
              </a:xfrm>
              <a:solidFill>
                <a:srgbClr val="FFE123"/>
              </a:solidFill>
            </p:grpSpPr>
            <p:sp>
              <p:nvSpPr>
                <p:cNvPr id="1364" name="Freeform: Shape 1363">
                  <a:extLst>
                    <a:ext uri="{FF2B5EF4-FFF2-40B4-BE49-F238E27FC236}">
                      <a16:creationId xmlns:a16="http://schemas.microsoft.com/office/drawing/2014/main" id="{EE66B09E-9AC6-4ED6-9648-6FE74EEFD88D}"/>
                    </a:ext>
                  </a:extLst>
                </p:cNvPr>
                <p:cNvSpPr/>
                <p:nvPr/>
              </p:nvSpPr>
              <p:spPr>
                <a:xfrm>
                  <a:off x="8202184" y="3130007"/>
                  <a:ext cx="73136" cy="37294"/>
                </a:xfrm>
                <a:custGeom>
                  <a:avLst/>
                  <a:gdLst>
                    <a:gd name="connsiteX0" fmla="*/ 71423 w 73136"/>
                    <a:gd name="connsiteY0" fmla="*/ 31295 h 37294"/>
                    <a:gd name="connsiteX1" fmla="*/ 21998 w 73136"/>
                    <a:gd name="connsiteY1" fmla="*/ 1298 h 37294"/>
                    <a:gd name="connsiteX2" fmla="*/ 6857 w 73136"/>
                    <a:gd name="connsiteY2" fmla="*/ 6726 h 37294"/>
                    <a:gd name="connsiteX3" fmla="*/ 0 w 73136"/>
                    <a:gd name="connsiteY3" fmla="*/ 30153 h 37294"/>
                    <a:gd name="connsiteX4" fmla="*/ 55138 w 73136"/>
                    <a:gd name="connsiteY4" fmla="*/ 37295 h 37294"/>
                    <a:gd name="connsiteX5" fmla="*/ 73137 w 73136"/>
                    <a:gd name="connsiteY5" fmla="*/ 30724 h 37294"/>
                    <a:gd name="connsiteX6" fmla="*/ 71423 w 73136"/>
                    <a:gd name="connsiteY6" fmla="*/ 31295 h 37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3136" h="37294">
                      <a:moveTo>
                        <a:pt x="71423" y="31295"/>
                      </a:moveTo>
                      <a:cubicBezTo>
                        <a:pt x="55424" y="21296"/>
                        <a:pt x="39140" y="11297"/>
                        <a:pt x="21998" y="1298"/>
                      </a:cubicBezTo>
                      <a:cubicBezTo>
                        <a:pt x="16856" y="-1845"/>
                        <a:pt x="8571" y="1012"/>
                        <a:pt x="6857" y="6726"/>
                      </a:cubicBezTo>
                      <a:cubicBezTo>
                        <a:pt x="4571" y="14440"/>
                        <a:pt x="2286" y="22153"/>
                        <a:pt x="0" y="30153"/>
                      </a:cubicBezTo>
                      <a:cubicBezTo>
                        <a:pt x="19427" y="33581"/>
                        <a:pt x="38283" y="35295"/>
                        <a:pt x="55138" y="37295"/>
                      </a:cubicBezTo>
                      <a:cubicBezTo>
                        <a:pt x="61138" y="35009"/>
                        <a:pt x="67137" y="32724"/>
                        <a:pt x="73137" y="30724"/>
                      </a:cubicBezTo>
                      <a:cubicBezTo>
                        <a:pt x="72566" y="30724"/>
                        <a:pt x="71994" y="31010"/>
                        <a:pt x="71423" y="31295"/>
                      </a:cubicBezTo>
                      <a:close/>
                    </a:path>
                  </a:pathLst>
                </a:custGeom>
                <a:solidFill>
                  <a:srgbClr val="FFE123"/>
                </a:solidFill>
                <a:ln w="285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65" name="Freeform: Shape 1364">
                  <a:extLst>
                    <a:ext uri="{FF2B5EF4-FFF2-40B4-BE49-F238E27FC236}">
                      <a16:creationId xmlns:a16="http://schemas.microsoft.com/office/drawing/2014/main" id="{6341335F-8240-4BB1-9601-011A18FA2089}"/>
                    </a:ext>
                  </a:extLst>
                </p:cNvPr>
                <p:cNvSpPr/>
                <p:nvPr/>
              </p:nvSpPr>
              <p:spPr>
                <a:xfrm>
                  <a:off x="8361599" y="3119591"/>
                  <a:ext cx="29426" cy="14570"/>
                </a:xfrm>
                <a:custGeom>
                  <a:avLst/>
                  <a:gdLst>
                    <a:gd name="connsiteX0" fmla="*/ 8571 w 29426"/>
                    <a:gd name="connsiteY0" fmla="*/ 0 h 14570"/>
                    <a:gd name="connsiteX1" fmla="*/ 0 w 29426"/>
                    <a:gd name="connsiteY1" fmla="*/ 14570 h 14570"/>
                    <a:gd name="connsiteX2" fmla="*/ 29426 w 29426"/>
                    <a:gd name="connsiteY2" fmla="*/ 7999 h 14570"/>
                    <a:gd name="connsiteX3" fmla="*/ 8571 w 29426"/>
                    <a:gd name="connsiteY3" fmla="*/ 0 h 145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426" h="14570">
                      <a:moveTo>
                        <a:pt x="8571" y="0"/>
                      </a:moveTo>
                      <a:cubicBezTo>
                        <a:pt x="5714" y="4857"/>
                        <a:pt x="2857" y="9713"/>
                        <a:pt x="0" y="14570"/>
                      </a:cubicBezTo>
                      <a:cubicBezTo>
                        <a:pt x="9714" y="12285"/>
                        <a:pt x="19713" y="9999"/>
                        <a:pt x="29426" y="7999"/>
                      </a:cubicBezTo>
                      <a:cubicBezTo>
                        <a:pt x="22855" y="5428"/>
                        <a:pt x="15713" y="2857"/>
                        <a:pt x="8571" y="0"/>
                      </a:cubicBezTo>
                      <a:close/>
                    </a:path>
                  </a:pathLst>
                </a:custGeom>
                <a:solidFill>
                  <a:srgbClr val="FFE123"/>
                </a:solidFill>
                <a:ln w="285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66" name="Freeform: Shape 1365">
                  <a:extLst>
                    <a:ext uri="{FF2B5EF4-FFF2-40B4-BE49-F238E27FC236}">
                      <a16:creationId xmlns:a16="http://schemas.microsoft.com/office/drawing/2014/main" id="{7BDA8A74-6563-4870-B8C5-9CA6FA49EB69}"/>
                    </a:ext>
                  </a:extLst>
                </p:cNvPr>
                <p:cNvSpPr/>
                <p:nvPr/>
              </p:nvSpPr>
              <p:spPr>
                <a:xfrm>
                  <a:off x="8275892" y="3102820"/>
                  <a:ext cx="83993" cy="57625"/>
                </a:xfrm>
                <a:custGeom>
                  <a:avLst/>
                  <a:gdLst>
                    <a:gd name="connsiteX0" fmla="*/ 82565 w 83993"/>
                    <a:gd name="connsiteY0" fmla="*/ 32485 h 57625"/>
                    <a:gd name="connsiteX1" fmla="*/ 37711 w 83993"/>
                    <a:gd name="connsiteY1" fmla="*/ 1630 h 57625"/>
                    <a:gd name="connsiteX2" fmla="*/ 21998 w 83993"/>
                    <a:gd name="connsiteY2" fmla="*/ 5630 h 57625"/>
                    <a:gd name="connsiteX3" fmla="*/ 0 w 83993"/>
                    <a:gd name="connsiteY3" fmla="*/ 57626 h 57625"/>
                    <a:gd name="connsiteX4" fmla="*/ 83993 w 83993"/>
                    <a:gd name="connsiteY4" fmla="*/ 32199 h 57625"/>
                    <a:gd name="connsiteX5" fmla="*/ 82565 w 83993"/>
                    <a:gd name="connsiteY5" fmla="*/ 32485 h 57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3993" h="57625">
                      <a:moveTo>
                        <a:pt x="82565" y="32485"/>
                      </a:moveTo>
                      <a:cubicBezTo>
                        <a:pt x="68280" y="22200"/>
                        <a:pt x="53424" y="12201"/>
                        <a:pt x="37711" y="1630"/>
                      </a:cubicBezTo>
                      <a:cubicBezTo>
                        <a:pt x="32854" y="-1798"/>
                        <a:pt x="24569" y="487"/>
                        <a:pt x="21998" y="5630"/>
                      </a:cubicBezTo>
                      <a:cubicBezTo>
                        <a:pt x="13999" y="22200"/>
                        <a:pt x="6571" y="39627"/>
                        <a:pt x="0" y="57626"/>
                      </a:cubicBezTo>
                      <a:cubicBezTo>
                        <a:pt x="27141" y="47912"/>
                        <a:pt x="55138" y="39341"/>
                        <a:pt x="83993" y="32199"/>
                      </a:cubicBezTo>
                      <a:cubicBezTo>
                        <a:pt x="83708" y="32199"/>
                        <a:pt x="83136" y="32199"/>
                        <a:pt x="82565" y="32485"/>
                      </a:cubicBezTo>
                      <a:close/>
                    </a:path>
                  </a:pathLst>
                </a:custGeom>
                <a:solidFill>
                  <a:srgbClr val="FFE123"/>
                </a:solidFill>
                <a:ln w="285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367" name="Freeform: Shape 1366">
                <a:extLst>
                  <a:ext uri="{FF2B5EF4-FFF2-40B4-BE49-F238E27FC236}">
                    <a16:creationId xmlns:a16="http://schemas.microsoft.com/office/drawing/2014/main" id="{4DED3152-F1A0-4A58-97AB-B4F5421E3423}"/>
                  </a:ext>
                </a:extLst>
              </p:cNvPr>
              <p:cNvSpPr/>
              <p:nvPr/>
            </p:nvSpPr>
            <p:spPr>
              <a:xfrm>
                <a:off x="8203326" y="3205870"/>
                <a:ext cx="382723" cy="341630"/>
              </a:xfrm>
              <a:custGeom>
                <a:avLst/>
                <a:gdLst>
                  <a:gd name="connsiteX0" fmla="*/ 0 w 382723"/>
                  <a:gd name="connsiteY0" fmla="*/ 130847 h 341630"/>
                  <a:gd name="connsiteX1" fmla="*/ 250265 w 382723"/>
                  <a:gd name="connsiteY1" fmla="*/ 199127 h 341630"/>
                  <a:gd name="connsiteX2" fmla="*/ 207126 w 382723"/>
                  <a:gd name="connsiteY2" fmla="*/ 340830 h 341630"/>
                  <a:gd name="connsiteX3" fmla="*/ 379112 w 382723"/>
                  <a:gd name="connsiteY3" fmla="*/ 129704 h 341630"/>
                  <a:gd name="connsiteX4" fmla="*/ 163415 w 382723"/>
                  <a:gd name="connsiteY4" fmla="*/ 81708 h 341630"/>
                  <a:gd name="connsiteX5" fmla="*/ 279120 w 382723"/>
                  <a:gd name="connsiteY5" fmla="*/ 0 h 341630"/>
                  <a:gd name="connsiteX6" fmla="*/ 39140 w 382723"/>
                  <a:gd name="connsiteY6" fmla="*/ 101135 h 341630"/>
                  <a:gd name="connsiteX7" fmla="*/ 0 w 382723"/>
                  <a:gd name="connsiteY7" fmla="*/ 130847 h 34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2723" h="341630">
                    <a:moveTo>
                      <a:pt x="0" y="130847"/>
                    </a:moveTo>
                    <a:cubicBezTo>
                      <a:pt x="19141" y="175129"/>
                      <a:pt x="214840" y="127704"/>
                      <a:pt x="250265" y="199127"/>
                    </a:cubicBezTo>
                    <a:cubicBezTo>
                      <a:pt x="276549" y="251980"/>
                      <a:pt x="195698" y="331402"/>
                      <a:pt x="207126" y="340830"/>
                    </a:cubicBezTo>
                    <a:cubicBezTo>
                      <a:pt x="223696" y="354257"/>
                      <a:pt x="410824" y="195413"/>
                      <a:pt x="379112" y="129704"/>
                    </a:cubicBezTo>
                    <a:cubicBezTo>
                      <a:pt x="351400" y="72566"/>
                      <a:pt x="169129" y="111991"/>
                      <a:pt x="163415" y="81708"/>
                    </a:cubicBezTo>
                    <a:cubicBezTo>
                      <a:pt x="159130" y="59138"/>
                      <a:pt x="261407" y="37711"/>
                      <a:pt x="279120" y="0"/>
                    </a:cubicBezTo>
                    <a:cubicBezTo>
                      <a:pt x="191413" y="15999"/>
                      <a:pt x="111991" y="46568"/>
                      <a:pt x="39140" y="101135"/>
                    </a:cubicBezTo>
                    <a:cubicBezTo>
                      <a:pt x="29426" y="108277"/>
                      <a:pt x="16284" y="118562"/>
                      <a:pt x="0" y="130847"/>
                    </a:cubicBezTo>
                    <a:close/>
                  </a:path>
                </a:pathLst>
              </a:custGeom>
              <a:solidFill>
                <a:srgbClr val="D1C025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8" name="Freeform: Shape 1367">
                <a:extLst>
                  <a:ext uri="{FF2B5EF4-FFF2-40B4-BE49-F238E27FC236}">
                    <a16:creationId xmlns:a16="http://schemas.microsoft.com/office/drawing/2014/main" id="{26DA9550-7597-4B75-936C-7488DC42B5B4}"/>
                  </a:ext>
                </a:extLst>
              </p:cNvPr>
              <p:cNvSpPr/>
              <p:nvPr/>
            </p:nvSpPr>
            <p:spPr>
              <a:xfrm>
                <a:off x="8359885" y="3134447"/>
                <a:ext cx="1714" cy="285"/>
              </a:xfrm>
              <a:custGeom>
                <a:avLst/>
                <a:gdLst>
                  <a:gd name="connsiteX0" fmla="*/ 1714 w 1714"/>
                  <a:gd name="connsiteY0" fmla="*/ 0 h 285"/>
                  <a:gd name="connsiteX1" fmla="*/ 0 w 1714"/>
                  <a:gd name="connsiteY1" fmla="*/ 286 h 285"/>
                  <a:gd name="connsiteX2" fmla="*/ 1714 w 1714"/>
                  <a:gd name="connsiteY2" fmla="*/ 0 h 285"/>
                  <a:gd name="connsiteX3" fmla="*/ 1714 w 1714"/>
                  <a:gd name="connsiteY3" fmla="*/ 0 h 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" h="285">
                    <a:moveTo>
                      <a:pt x="1714" y="0"/>
                    </a:moveTo>
                    <a:cubicBezTo>
                      <a:pt x="1143" y="0"/>
                      <a:pt x="571" y="286"/>
                      <a:pt x="0" y="286"/>
                    </a:cubicBezTo>
                    <a:cubicBezTo>
                      <a:pt x="857" y="286"/>
                      <a:pt x="1143" y="0"/>
                      <a:pt x="1714" y="0"/>
                    </a:cubicBezTo>
                    <a:lnTo>
                      <a:pt x="1714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9" name="Freeform: Shape 1368">
                <a:extLst>
                  <a:ext uri="{FF2B5EF4-FFF2-40B4-BE49-F238E27FC236}">
                    <a16:creationId xmlns:a16="http://schemas.microsoft.com/office/drawing/2014/main" id="{5DE23EA8-3639-4B7A-8D92-55F5F1CDCD33}"/>
                  </a:ext>
                </a:extLst>
              </p:cNvPr>
              <p:cNvSpPr/>
              <p:nvPr/>
            </p:nvSpPr>
            <p:spPr>
              <a:xfrm>
                <a:off x="8275606" y="3160160"/>
                <a:ext cx="571" cy="285"/>
              </a:xfrm>
              <a:custGeom>
                <a:avLst/>
                <a:gdLst>
                  <a:gd name="connsiteX0" fmla="*/ 571 w 571"/>
                  <a:gd name="connsiteY0" fmla="*/ 0 h 285"/>
                  <a:gd name="connsiteX1" fmla="*/ 0 w 571"/>
                  <a:gd name="connsiteY1" fmla="*/ 286 h 285"/>
                  <a:gd name="connsiteX2" fmla="*/ 571 w 571"/>
                  <a:gd name="connsiteY2" fmla="*/ 0 h 285"/>
                  <a:gd name="connsiteX3" fmla="*/ 571 w 571"/>
                  <a:gd name="connsiteY3" fmla="*/ 0 h 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" h="285">
                    <a:moveTo>
                      <a:pt x="571" y="0"/>
                    </a:moveTo>
                    <a:cubicBezTo>
                      <a:pt x="286" y="0"/>
                      <a:pt x="0" y="286"/>
                      <a:pt x="0" y="286"/>
                    </a:cubicBezTo>
                    <a:cubicBezTo>
                      <a:pt x="0" y="286"/>
                      <a:pt x="286" y="0"/>
                      <a:pt x="571" y="0"/>
                    </a:cubicBezTo>
                    <a:lnTo>
                      <a:pt x="571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0" name="Freeform: Shape 1369">
                <a:extLst>
                  <a:ext uri="{FF2B5EF4-FFF2-40B4-BE49-F238E27FC236}">
                    <a16:creationId xmlns:a16="http://schemas.microsoft.com/office/drawing/2014/main" id="{FC6821F2-9539-45B5-B2BE-A0A95BE06644}"/>
                  </a:ext>
                </a:extLst>
              </p:cNvPr>
              <p:cNvSpPr/>
              <p:nvPr/>
            </p:nvSpPr>
            <p:spPr>
              <a:xfrm>
                <a:off x="8201726" y="3127876"/>
                <a:ext cx="283327" cy="208840"/>
              </a:xfrm>
              <a:custGeom>
                <a:avLst/>
                <a:gdLst>
                  <a:gd name="connsiteX0" fmla="*/ 189585 w 283327"/>
                  <a:gd name="connsiteY0" fmla="*/ 0 h 208840"/>
                  <a:gd name="connsiteX1" fmla="*/ 159873 w 283327"/>
                  <a:gd name="connsiteY1" fmla="*/ 6571 h 208840"/>
                  <a:gd name="connsiteX2" fmla="*/ 159873 w 283327"/>
                  <a:gd name="connsiteY2" fmla="*/ 6571 h 208840"/>
                  <a:gd name="connsiteX3" fmla="*/ 158159 w 283327"/>
                  <a:gd name="connsiteY3" fmla="*/ 6857 h 208840"/>
                  <a:gd name="connsiteX4" fmla="*/ 74166 w 283327"/>
                  <a:gd name="connsiteY4" fmla="*/ 32283 h 208840"/>
                  <a:gd name="connsiteX5" fmla="*/ 74166 w 283327"/>
                  <a:gd name="connsiteY5" fmla="*/ 32283 h 208840"/>
                  <a:gd name="connsiteX6" fmla="*/ 73595 w 283327"/>
                  <a:gd name="connsiteY6" fmla="*/ 32569 h 208840"/>
                  <a:gd name="connsiteX7" fmla="*/ 55596 w 283327"/>
                  <a:gd name="connsiteY7" fmla="*/ 39140 h 208840"/>
                  <a:gd name="connsiteX8" fmla="*/ 114163 w 283327"/>
                  <a:gd name="connsiteY8" fmla="*/ 64281 h 208840"/>
                  <a:gd name="connsiteX9" fmla="*/ 743 w 283327"/>
                  <a:gd name="connsiteY9" fmla="*/ 206840 h 208840"/>
                  <a:gd name="connsiteX10" fmla="*/ 1600 w 283327"/>
                  <a:gd name="connsiteY10" fmla="*/ 208840 h 208840"/>
                  <a:gd name="connsiteX11" fmla="*/ 40740 w 283327"/>
                  <a:gd name="connsiteY11" fmla="*/ 179128 h 208840"/>
                  <a:gd name="connsiteX12" fmla="*/ 280721 w 283327"/>
                  <a:gd name="connsiteY12" fmla="*/ 77994 h 208840"/>
                  <a:gd name="connsiteX13" fmla="*/ 283292 w 283327"/>
                  <a:gd name="connsiteY13" fmla="*/ 68280 h 208840"/>
                  <a:gd name="connsiteX14" fmla="*/ 189585 w 283327"/>
                  <a:gd name="connsiteY14" fmla="*/ 0 h 208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3327" h="208840">
                    <a:moveTo>
                      <a:pt x="189585" y="0"/>
                    </a:moveTo>
                    <a:cubicBezTo>
                      <a:pt x="179586" y="2000"/>
                      <a:pt x="169587" y="4000"/>
                      <a:pt x="159873" y="6571"/>
                    </a:cubicBezTo>
                    <a:lnTo>
                      <a:pt x="159873" y="6571"/>
                    </a:lnTo>
                    <a:cubicBezTo>
                      <a:pt x="159302" y="6571"/>
                      <a:pt x="158730" y="6857"/>
                      <a:pt x="158159" y="6857"/>
                    </a:cubicBezTo>
                    <a:cubicBezTo>
                      <a:pt x="129304" y="13999"/>
                      <a:pt x="101307" y="22570"/>
                      <a:pt x="74166" y="32283"/>
                    </a:cubicBezTo>
                    <a:lnTo>
                      <a:pt x="74166" y="32283"/>
                    </a:lnTo>
                    <a:cubicBezTo>
                      <a:pt x="73880" y="32283"/>
                      <a:pt x="73595" y="32569"/>
                      <a:pt x="73595" y="32569"/>
                    </a:cubicBezTo>
                    <a:cubicBezTo>
                      <a:pt x="67595" y="34854"/>
                      <a:pt x="61595" y="36854"/>
                      <a:pt x="55596" y="39140"/>
                    </a:cubicBezTo>
                    <a:cubicBezTo>
                      <a:pt x="86165" y="42854"/>
                      <a:pt x="109592" y="47425"/>
                      <a:pt x="114163" y="64281"/>
                    </a:cubicBezTo>
                    <a:cubicBezTo>
                      <a:pt x="126162" y="108277"/>
                      <a:pt x="-11256" y="166558"/>
                      <a:pt x="743" y="206840"/>
                    </a:cubicBezTo>
                    <a:cubicBezTo>
                      <a:pt x="1029" y="207412"/>
                      <a:pt x="1315" y="208269"/>
                      <a:pt x="1600" y="208840"/>
                    </a:cubicBezTo>
                    <a:cubicBezTo>
                      <a:pt x="17885" y="196555"/>
                      <a:pt x="31027" y="186271"/>
                      <a:pt x="40740" y="179128"/>
                    </a:cubicBezTo>
                    <a:cubicBezTo>
                      <a:pt x="113591" y="124561"/>
                      <a:pt x="193013" y="93992"/>
                      <a:pt x="280721" y="77994"/>
                    </a:cubicBezTo>
                    <a:cubicBezTo>
                      <a:pt x="282149" y="74851"/>
                      <a:pt x="283292" y="71708"/>
                      <a:pt x="283292" y="68280"/>
                    </a:cubicBezTo>
                    <a:cubicBezTo>
                      <a:pt x="284720" y="41711"/>
                      <a:pt x="243009" y="20855"/>
                      <a:pt x="189585" y="0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7BFF2187-B4C4-4A1D-A0A2-C43CA8A82248}"/>
                </a:ext>
              </a:extLst>
            </p:cNvPr>
            <p:cNvSpPr/>
            <p:nvPr/>
          </p:nvSpPr>
          <p:spPr>
            <a:xfrm>
              <a:off x="9086969" y="3151017"/>
              <a:ext cx="265121" cy="113990"/>
            </a:xfrm>
            <a:custGeom>
              <a:avLst/>
              <a:gdLst>
                <a:gd name="connsiteX0" fmla="*/ 25141 w 265121"/>
                <a:gd name="connsiteY0" fmla="*/ 0 h 113990"/>
                <a:gd name="connsiteX1" fmla="*/ 0 w 265121"/>
                <a:gd name="connsiteY1" fmla="*/ 71137 h 113990"/>
                <a:gd name="connsiteX2" fmla="*/ 181700 w 265121"/>
                <a:gd name="connsiteY2" fmla="*/ 113991 h 113990"/>
                <a:gd name="connsiteX3" fmla="*/ 265122 w 265121"/>
                <a:gd name="connsiteY3" fmla="*/ 71423 h 113990"/>
                <a:gd name="connsiteX4" fmla="*/ 25141 w 265121"/>
                <a:gd name="connsiteY4" fmla="*/ 0 h 113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121" h="113990">
                  <a:moveTo>
                    <a:pt x="25141" y="0"/>
                  </a:moveTo>
                  <a:cubicBezTo>
                    <a:pt x="11999" y="23998"/>
                    <a:pt x="3428" y="48567"/>
                    <a:pt x="0" y="71137"/>
                  </a:cubicBezTo>
                  <a:cubicBezTo>
                    <a:pt x="63138" y="81422"/>
                    <a:pt x="123704" y="95992"/>
                    <a:pt x="181700" y="113991"/>
                  </a:cubicBezTo>
                  <a:cubicBezTo>
                    <a:pt x="201698" y="95992"/>
                    <a:pt x="233695" y="83707"/>
                    <a:pt x="265122" y="71423"/>
                  </a:cubicBezTo>
                  <a:cubicBezTo>
                    <a:pt x="185128" y="41425"/>
                    <a:pt x="104563" y="17999"/>
                    <a:pt x="25141" y="0"/>
                  </a:cubicBezTo>
                  <a:close/>
                </a:path>
              </a:pathLst>
            </a:custGeom>
            <a:solidFill>
              <a:srgbClr val="FFE12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07795D0F-ECEC-44F8-982A-D8D68FB367EE}"/>
                </a:ext>
              </a:extLst>
            </p:cNvPr>
            <p:cNvSpPr/>
            <p:nvPr/>
          </p:nvSpPr>
          <p:spPr>
            <a:xfrm>
              <a:off x="9382626" y="3290435"/>
              <a:ext cx="220872" cy="316030"/>
            </a:xfrm>
            <a:custGeom>
              <a:avLst/>
              <a:gdLst>
                <a:gd name="connsiteX0" fmla="*/ 51458 w 220872"/>
                <a:gd name="connsiteY0" fmla="*/ 92278 h 316030"/>
                <a:gd name="connsiteX1" fmla="*/ 73170 w 220872"/>
                <a:gd name="connsiteY1" fmla="*/ 173700 h 316030"/>
                <a:gd name="connsiteX2" fmla="*/ 18889 w 220872"/>
                <a:gd name="connsiteY2" fmla="*/ 215697 h 316030"/>
                <a:gd name="connsiteX3" fmla="*/ 10033 w 220872"/>
                <a:gd name="connsiteY3" fmla="*/ 298547 h 316030"/>
                <a:gd name="connsiteX4" fmla="*/ 96883 w 220872"/>
                <a:gd name="connsiteY4" fmla="*/ 298547 h 316030"/>
                <a:gd name="connsiteX5" fmla="*/ 76313 w 220872"/>
                <a:gd name="connsiteY5" fmla="*/ 238838 h 316030"/>
                <a:gd name="connsiteX6" fmla="*/ 182876 w 220872"/>
                <a:gd name="connsiteY6" fmla="*/ 198555 h 316030"/>
                <a:gd name="connsiteX7" fmla="*/ 160877 w 220872"/>
                <a:gd name="connsiteY7" fmla="*/ 108563 h 316030"/>
                <a:gd name="connsiteX8" fmla="*/ 193446 w 220872"/>
                <a:gd name="connsiteY8" fmla="*/ 67709 h 316030"/>
                <a:gd name="connsiteX9" fmla="*/ 220873 w 220872"/>
                <a:gd name="connsiteY9" fmla="*/ 50853 h 316030"/>
                <a:gd name="connsiteX10" fmla="*/ 126595 w 220872"/>
                <a:gd name="connsiteY10" fmla="*/ 0 h 316030"/>
                <a:gd name="connsiteX11" fmla="*/ 51458 w 220872"/>
                <a:gd name="connsiteY11" fmla="*/ 92278 h 316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872" h="316030">
                  <a:moveTo>
                    <a:pt x="51458" y="92278"/>
                  </a:moveTo>
                  <a:cubicBezTo>
                    <a:pt x="52029" y="125990"/>
                    <a:pt x="84883" y="146845"/>
                    <a:pt x="73170" y="173700"/>
                  </a:cubicBezTo>
                  <a:cubicBezTo>
                    <a:pt x="63457" y="195413"/>
                    <a:pt x="37173" y="192270"/>
                    <a:pt x="18889" y="215697"/>
                  </a:cubicBezTo>
                  <a:cubicBezTo>
                    <a:pt x="2604" y="236552"/>
                    <a:pt x="-9394" y="275692"/>
                    <a:pt x="10033" y="298547"/>
                  </a:cubicBezTo>
                  <a:cubicBezTo>
                    <a:pt x="32888" y="325688"/>
                    <a:pt x="88312" y="317689"/>
                    <a:pt x="96883" y="298547"/>
                  </a:cubicBezTo>
                  <a:cubicBezTo>
                    <a:pt x="104882" y="280263"/>
                    <a:pt x="68885" y="259122"/>
                    <a:pt x="76313" y="238838"/>
                  </a:cubicBezTo>
                  <a:cubicBezTo>
                    <a:pt x="87169" y="209697"/>
                    <a:pt x="169162" y="229696"/>
                    <a:pt x="182876" y="198555"/>
                  </a:cubicBezTo>
                  <a:cubicBezTo>
                    <a:pt x="193446" y="174557"/>
                    <a:pt x="151164" y="147702"/>
                    <a:pt x="160877" y="108563"/>
                  </a:cubicBezTo>
                  <a:cubicBezTo>
                    <a:pt x="165163" y="90850"/>
                    <a:pt x="178305" y="78851"/>
                    <a:pt x="193446" y="67709"/>
                  </a:cubicBezTo>
                  <a:cubicBezTo>
                    <a:pt x="202017" y="61424"/>
                    <a:pt x="211445" y="55995"/>
                    <a:pt x="220873" y="50853"/>
                  </a:cubicBezTo>
                  <a:cubicBezTo>
                    <a:pt x="189732" y="32854"/>
                    <a:pt x="158306" y="15713"/>
                    <a:pt x="126595" y="0"/>
                  </a:cubicBezTo>
                  <a:cubicBezTo>
                    <a:pt x="82884" y="25712"/>
                    <a:pt x="50886" y="58852"/>
                    <a:pt x="51458" y="92278"/>
                  </a:cubicBezTo>
                  <a:close/>
                </a:path>
              </a:pathLst>
            </a:custGeom>
            <a:solidFill>
              <a:srgbClr val="D1C025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B31CD3F-088F-48E6-BA73-5CCB21F134E7}"/>
                </a:ext>
              </a:extLst>
            </p:cNvPr>
            <p:cNvSpPr/>
            <p:nvPr/>
          </p:nvSpPr>
          <p:spPr>
            <a:xfrm>
              <a:off x="9453225" y="3290435"/>
              <a:ext cx="150273" cy="94563"/>
            </a:xfrm>
            <a:custGeom>
              <a:avLst/>
              <a:gdLst>
                <a:gd name="connsiteX0" fmla="*/ 122847 w 150273"/>
                <a:gd name="connsiteY0" fmla="*/ 67709 h 94563"/>
                <a:gd name="connsiteX1" fmla="*/ 150274 w 150273"/>
                <a:gd name="connsiteY1" fmla="*/ 50853 h 94563"/>
                <a:gd name="connsiteX2" fmla="*/ 150274 w 150273"/>
                <a:gd name="connsiteY2" fmla="*/ 50853 h 94563"/>
                <a:gd name="connsiteX3" fmla="*/ 103420 w 150273"/>
                <a:gd name="connsiteY3" fmla="*/ 24569 h 94563"/>
                <a:gd name="connsiteX4" fmla="*/ 103420 w 150273"/>
                <a:gd name="connsiteY4" fmla="*/ 24569 h 94563"/>
                <a:gd name="connsiteX5" fmla="*/ 56281 w 150273"/>
                <a:gd name="connsiteY5" fmla="*/ 0 h 94563"/>
                <a:gd name="connsiteX6" fmla="*/ 56281 w 150273"/>
                <a:gd name="connsiteY6" fmla="*/ 0 h 94563"/>
                <a:gd name="connsiteX7" fmla="*/ 0 w 150273"/>
                <a:gd name="connsiteY7" fmla="*/ 45996 h 94563"/>
                <a:gd name="connsiteX8" fmla="*/ 96278 w 150273"/>
                <a:gd name="connsiteY8" fmla="*/ 94564 h 94563"/>
                <a:gd name="connsiteX9" fmla="*/ 122847 w 150273"/>
                <a:gd name="connsiteY9" fmla="*/ 67709 h 94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273" h="94563">
                  <a:moveTo>
                    <a:pt x="122847" y="67709"/>
                  </a:moveTo>
                  <a:cubicBezTo>
                    <a:pt x="131418" y="61424"/>
                    <a:pt x="140846" y="55995"/>
                    <a:pt x="150274" y="50853"/>
                  </a:cubicBezTo>
                  <a:cubicBezTo>
                    <a:pt x="150274" y="50853"/>
                    <a:pt x="150274" y="50853"/>
                    <a:pt x="150274" y="50853"/>
                  </a:cubicBezTo>
                  <a:cubicBezTo>
                    <a:pt x="134846" y="41711"/>
                    <a:pt x="119133" y="33140"/>
                    <a:pt x="103420" y="24569"/>
                  </a:cubicBezTo>
                  <a:cubicBezTo>
                    <a:pt x="103420" y="24569"/>
                    <a:pt x="103420" y="24569"/>
                    <a:pt x="103420" y="24569"/>
                  </a:cubicBezTo>
                  <a:cubicBezTo>
                    <a:pt x="87707" y="15999"/>
                    <a:pt x="71994" y="7999"/>
                    <a:pt x="56281" y="0"/>
                  </a:cubicBezTo>
                  <a:cubicBezTo>
                    <a:pt x="56281" y="0"/>
                    <a:pt x="56281" y="0"/>
                    <a:pt x="56281" y="0"/>
                  </a:cubicBezTo>
                  <a:cubicBezTo>
                    <a:pt x="33140" y="13713"/>
                    <a:pt x="13428" y="29426"/>
                    <a:pt x="0" y="45996"/>
                  </a:cubicBezTo>
                  <a:cubicBezTo>
                    <a:pt x="33140" y="61424"/>
                    <a:pt x="65138" y="77708"/>
                    <a:pt x="96278" y="94564"/>
                  </a:cubicBezTo>
                  <a:cubicBezTo>
                    <a:pt x="102277" y="83993"/>
                    <a:pt x="111991" y="75422"/>
                    <a:pt x="122847" y="67709"/>
                  </a:cubicBezTo>
                  <a:close/>
                </a:path>
              </a:pathLst>
            </a:custGeom>
            <a:solidFill>
              <a:srgbClr val="FFE12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75" name="Picture 1374">
            <a:extLst>
              <a:ext uri="{FF2B5EF4-FFF2-40B4-BE49-F238E27FC236}">
                <a16:creationId xmlns:a16="http://schemas.microsoft.com/office/drawing/2014/main" id="{C1084779-F7D5-447B-AFAB-3BF529D477C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5547" y="2161131"/>
            <a:ext cx="1388163" cy="1946742"/>
          </a:xfrm>
          <a:prstGeom prst="rect">
            <a:avLst/>
          </a:prstGeom>
        </p:spPr>
      </p:pic>
      <p:pic>
        <p:nvPicPr>
          <p:cNvPr id="457" name="Graphic 456">
            <a:extLst>
              <a:ext uri="{FF2B5EF4-FFF2-40B4-BE49-F238E27FC236}">
                <a16:creationId xmlns:a16="http://schemas.microsoft.com/office/drawing/2014/main" id="{71085EBF-621A-4C9D-94A1-AAD06E65869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3371695">
            <a:off x="9776635" y="5629309"/>
            <a:ext cx="1505517" cy="1729478"/>
          </a:xfrm>
          <a:prstGeom prst="rect">
            <a:avLst/>
          </a:prstGeom>
        </p:spPr>
      </p:pic>
      <p:pic>
        <p:nvPicPr>
          <p:cNvPr id="1381" name="Graphic 1380">
            <a:extLst>
              <a:ext uri="{FF2B5EF4-FFF2-40B4-BE49-F238E27FC236}">
                <a16:creationId xmlns:a16="http://schemas.microsoft.com/office/drawing/2014/main" id="{D17CB0D1-3A16-4D54-8ED7-068F09619A5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412939" y="5191699"/>
            <a:ext cx="934985" cy="1856801"/>
          </a:xfrm>
          <a:prstGeom prst="rect">
            <a:avLst/>
          </a:prstGeom>
        </p:spPr>
      </p:pic>
      <p:pic>
        <p:nvPicPr>
          <p:cNvPr id="1384" name="Graphic 1383">
            <a:extLst>
              <a:ext uri="{FF2B5EF4-FFF2-40B4-BE49-F238E27FC236}">
                <a16:creationId xmlns:a16="http://schemas.microsoft.com/office/drawing/2014/main" id="{06E47D55-D461-4D28-ABDB-1F8D315F29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145914" y="4696664"/>
            <a:ext cx="1349178" cy="1925750"/>
          </a:xfrm>
          <a:prstGeom prst="rect">
            <a:avLst/>
          </a:prstGeom>
        </p:spPr>
      </p:pic>
      <p:pic>
        <p:nvPicPr>
          <p:cNvPr id="458" name="Graphic 457">
            <a:extLst>
              <a:ext uri="{FF2B5EF4-FFF2-40B4-BE49-F238E27FC236}">
                <a16:creationId xmlns:a16="http://schemas.microsoft.com/office/drawing/2014/main" id="{065C9871-4B8C-47B7-8604-D975CB37F9B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069644" y="5004913"/>
            <a:ext cx="772715" cy="1534546"/>
          </a:xfrm>
          <a:prstGeom prst="rect">
            <a:avLst/>
          </a:prstGeom>
        </p:spPr>
      </p:pic>
      <p:pic>
        <p:nvPicPr>
          <p:cNvPr id="1385" name="Graphic 1384">
            <a:extLst>
              <a:ext uri="{FF2B5EF4-FFF2-40B4-BE49-F238E27FC236}">
                <a16:creationId xmlns:a16="http://schemas.microsoft.com/office/drawing/2014/main" id="{E86959AA-0054-4D22-83B6-89C03A718F9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536619" y="5419968"/>
            <a:ext cx="1954192" cy="2018264"/>
          </a:xfrm>
          <a:prstGeom prst="rect">
            <a:avLst/>
          </a:prstGeom>
        </p:spPr>
      </p:pic>
      <p:pic>
        <p:nvPicPr>
          <p:cNvPr id="1386" name="Graphic 1385">
            <a:extLst>
              <a:ext uri="{FF2B5EF4-FFF2-40B4-BE49-F238E27FC236}">
                <a16:creationId xmlns:a16="http://schemas.microsoft.com/office/drawing/2014/main" id="{27A30A95-75D8-43F4-A9D3-BB691BD9E56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1297693" flipH="1">
            <a:off x="7537538" y="5550830"/>
            <a:ext cx="1631140" cy="1661628"/>
          </a:xfrm>
          <a:prstGeom prst="rect">
            <a:avLst/>
          </a:prstGeom>
        </p:spPr>
      </p:pic>
      <p:sp>
        <p:nvSpPr>
          <p:cNvPr id="465" name="TextBox 464">
            <a:extLst>
              <a:ext uri="{FF2B5EF4-FFF2-40B4-BE49-F238E27FC236}">
                <a16:creationId xmlns:a16="http://schemas.microsoft.com/office/drawing/2014/main" id="{75378069-CC8B-46B1-A531-1B90E9D05524}"/>
              </a:ext>
            </a:extLst>
          </p:cNvPr>
          <p:cNvSpPr txBox="1"/>
          <p:nvPr/>
        </p:nvSpPr>
        <p:spPr>
          <a:xfrm>
            <a:off x="3283897" y="6209333"/>
            <a:ext cx="243565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Lorem ipsum dolor sit amet, consectetuer adipiscing elit</a:t>
            </a:r>
            <a:r>
              <a:rPr lang="en-US" sz="1050">
                <a:solidFill>
                  <a:schemeClr val="bg1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9189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11kNp7I927O8.8XU38E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0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5</Words>
  <Application>Microsoft Office PowerPoint</Application>
  <PresentationFormat>Widescreen</PresentationFormat>
  <Paragraphs>73</Paragraphs>
  <Slides>10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Montserra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y irawan</dc:creator>
  <cp:lastModifiedBy>Faisal, Faeq (2022)</cp:lastModifiedBy>
  <cp:revision>44</cp:revision>
  <dcterms:created xsi:type="dcterms:W3CDTF">2020-10-16T03:43:26Z</dcterms:created>
  <dcterms:modified xsi:type="dcterms:W3CDTF">2025-02-09T08:01:37Z</dcterms:modified>
</cp:coreProperties>
</file>